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59"/>
  </p:notesMasterIdLst>
  <p:sldIdLst>
    <p:sldId id="257" r:id="rId3"/>
    <p:sldId id="305" r:id="rId4"/>
    <p:sldId id="306" r:id="rId5"/>
    <p:sldId id="307" r:id="rId6"/>
    <p:sldId id="320" r:id="rId7"/>
    <p:sldId id="308" r:id="rId8"/>
    <p:sldId id="309" r:id="rId9"/>
    <p:sldId id="321" r:id="rId10"/>
    <p:sldId id="310" r:id="rId11"/>
    <p:sldId id="322" r:id="rId12"/>
    <p:sldId id="311" r:id="rId13"/>
    <p:sldId id="340" r:id="rId14"/>
    <p:sldId id="330" r:id="rId15"/>
    <p:sldId id="313" r:id="rId16"/>
    <p:sldId id="312" r:id="rId17"/>
    <p:sldId id="314" r:id="rId18"/>
    <p:sldId id="315" r:id="rId19"/>
    <p:sldId id="316" r:id="rId20"/>
    <p:sldId id="317" r:id="rId21"/>
    <p:sldId id="331" r:id="rId22"/>
    <p:sldId id="332" r:id="rId23"/>
    <p:sldId id="333" r:id="rId24"/>
    <p:sldId id="334" r:id="rId25"/>
    <p:sldId id="335" r:id="rId26"/>
    <p:sldId id="336" r:id="rId27"/>
    <p:sldId id="318" r:id="rId28"/>
    <p:sldId id="337" r:id="rId29"/>
    <p:sldId id="319" r:id="rId30"/>
    <p:sldId id="338" r:id="rId31"/>
    <p:sldId id="339" r:id="rId32"/>
    <p:sldId id="285" r:id="rId33"/>
    <p:sldId id="286" r:id="rId34"/>
    <p:sldId id="302" r:id="rId35"/>
    <p:sldId id="303" r:id="rId36"/>
    <p:sldId id="304" r:id="rId37"/>
    <p:sldId id="287" r:id="rId38"/>
    <p:sldId id="288" r:id="rId39"/>
    <p:sldId id="289" r:id="rId40"/>
    <p:sldId id="290" r:id="rId41"/>
    <p:sldId id="291" r:id="rId42"/>
    <p:sldId id="292" r:id="rId43"/>
    <p:sldId id="293" r:id="rId44"/>
    <p:sldId id="294" r:id="rId45"/>
    <p:sldId id="296" r:id="rId46"/>
    <p:sldId id="295" r:id="rId47"/>
    <p:sldId id="323" r:id="rId48"/>
    <p:sldId id="324" r:id="rId49"/>
    <p:sldId id="325" r:id="rId50"/>
    <p:sldId id="326" r:id="rId51"/>
    <p:sldId id="327" r:id="rId52"/>
    <p:sldId id="328" r:id="rId53"/>
    <p:sldId id="329" r:id="rId54"/>
    <p:sldId id="297" r:id="rId55"/>
    <p:sldId id="298" r:id="rId56"/>
    <p:sldId id="299" r:id="rId57"/>
    <p:sldId id="300" r:id="rId5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>
      <p:cViewPr varScale="1">
        <p:scale>
          <a:sx n="87" d="100"/>
          <a:sy n="87" d="100"/>
        </p:scale>
        <p:origin x="437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tableStyles" Target="tableStyle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5" Type="http://schemas.openxmlformats.org/officeDocument/2006/relationships/slide" Target="slides/slide3.xml"/><Relationship Id="rId61" Type="http://schemas.openxmlformats.org/officeDocument/2006/relationships/viewProps" Target="viewProps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microsoft.com/office/2016/11/relationships/changesInfo" Target="changesInfos/changesInfo1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ndeep Reddy Hanumaihgari" userId="86a9f56c-2e65-4a80-9d64-63b9c07412a6" providerId="ADAL" clId="{0B869DD8-C325-4F0E-8DF6-71CF3DA64C21}"/>
    <pc:docChg chg="custSel addSld delSld modSld sldOrd">
      <pc:chgData name="Sandeep Reddy Hanumaihgari" userId="86a9f56c-2e65-4a80-9d64-63b9c07412a6" providerId="ADAL" clId="{0B869DD8-C325-4F0E-8DF6-71CF3DA64C21}" dt="2018-05-06T01:03:17.788" v="1200" actId="1076"/>
      <pc:docMkLst>
        <pc:docMk/>
      </pc:docMkLst>
      <pc:sldChg chg="modSp">
        <pc:chgData name="Sandeep Reddy Hanumaihgari" userId="86a9f56c-2e65-4a80-9d64-63b9c07412a6" providerId="ADAL" clId="{0B869DD8-C325-4F0E-8DF6-71CF3DA64C21}" dt="2018-05-05T23:45:19.300" v="41" actId="20577"/>
        <pc:sldMkLst>
          <pc:docMk/>
          <pc:sldMk cId="147571053" sldId="257"/>
        </pc:sldMkLst>
        <pc:spChg chg="mod">
          <ac:chgData name="Sandeep Reddy Hanumaihgari" userId="86a9f56c-2e65-4a80-9d64-63b9c07412a6" providerId="ADAL" clId="{0B869DD8-C325-4F0E-8DF6-71CF3DA64C21}" dt="2018-05-05T23:45:19.300" v="41" actId="20577"/>
          <ac:spMkLst>
            <pc:docMk/>
            <pc:sldMk cId="147571053" sldId="257"/>
            <ac:spMk id="2" creationId="{00000000-0000-0000-0000-000000000000}"/>
          </ac:spMkLst>
        </pc:spChg>
      </pc:sldChg>
      <pc:sldChg chg="delSp modSp">
        <pc:chgData name="Sandeep Reddy Hanumaihgari" userId="86a9f56c-2e65-4a80-9d64-63b9c07412a6" providerId="ADAL" clId="{0B869DD8-C325-4F0E-8DF6-71CF3DA64C21}" dt="2018-05-06T00:04:47.016" v="167" actId="1076"/>
        <pc:sldMkLst>
          <pc:docMk/>
          <pc:sldMk cId="85306368" sldId="291"/>
        </pc:sldMkLst>
        <pc:spChg chg="del">
          <ac:chgData name="Sandeep Reddy Hanumaihgari" userId="86a9f56c-2e65-4a80-9d64-63b9c07412a6" providerId="ADAL" clId="{0B869DD8-C325-4F0E-8DF6-71CF3DA64C21}" dt="2018-05-06T00:04:36.959" v="162" actId="478"/>
          <ac:spMkLst>
            <pc:docMk/>
            <pc:sldMk cId="85306368" sldId="291"/>
            <ac:spMk id="3" creationId="{44EEC9BB-931B-4031-81C3-AE26568AED00}"/>
          </ac:spMkLst>
        </pc:spChg>
        <pc:picChg chg="mod">
          <ac:chgData name="Sandeep Reddy Hanumaihgari" userId="86a9f56c-2e65-4a80-9d64-63b9c07412a6" providerId="ADAL" clId="{0B869DD8-C325-4F0E-8DF6-71CF3DA64C21}" dt="2018-05-06T00:04:47.016" v="167" actId="1076"/>
          <ac:picMkLst>
            <pc:docMk/>
            <pc:sldMk cId="85306368" sldId="291"/>
            <ac:picMk id="4" creationId="{2DB9824C-8362-403C-811C-23F74572EFDE}"/>
          </ac:picMkLst>
        </pc:picChg>
      </pc:sldChg>
      <pc:sldChg chg="ord">
        <pc:chgData name="Sandeep Reddy Hanumaihgari" userId="86a9f56c-2e65-4a80-9d64-63b9c07412a6" providerId="ADAL" clId="{0B869DD8-C325-4F0E-8DF6-71CF3DA64C21}" dt="2018-05-06T00:21:03.984" v="426" actId="1076"/>
        <pc:sldMkLst>
          <pc:docMk/>
          <pc:sldMk cId="1587276003" sldId="295"/>
        </pc:sldMkLst>
      </pc:sldChg>
      <pc:sldChg chg="modSp">
        <pc:chgData name="Sandeep Reddy Hanumaihgari" userId="86a9f56c-2e65-4a80-9d64-63b9c07412a6" providerId="ADAL" clId="{0B869DD8-C325-4F0E-8DF6-71CF3DA64C21}" dt="2018-05-06T00:21:17.241" v="443" actId="20577"/>
        <pc:sldMkLst>
          <pc:docMk/>
          <pc:sldMk cId="1791785473" sldId="297"/>
        </pc:sldMkLst>
        <pc:spChg chg="mod">
          <ac:chgData name="Sandeep Reddy Hanumaihgari" userId="86a9f56c-2e65-4a80-9d64-63b9c07412a6" providerId="ADAL" clId="{0B869DD8-C325-4F0E-8DF6-71CF3DA64C21}" dt="2018-05-06T00:21:17.241" v="443" actId="20577"/>
          <ac:spMkLst>
            <pc:docMk/>
            <pc:sldMk cId="1791785473" sldId="297"/>
            <ac:spMk id="2" creationId="{3A39A81C-DEB3-4E61-8F1E-DA0EFC668627}"/>
          </ac:spMkLst>
        </pc:spChg>
      </pc:sldChg>
      <pc:sldChg chg="del">
        <pc:chgData name="Sandeep Reddy Hanumaihgari" userId="86a9f56c-2e65-4a80-9d64-63b9c07412a6" providerId="ADAL" clId="{0B869DD8-C325-4F0E-8DF6-71CF3DA64C21}" dt="2018-05-06T00:21:30.610" v="444" actId="2696"/>
        <pc:sldMkLst>
          <pc:docMk/>
          <pc:sldMk cId="2906191882" sldId="301"/>
        </pc:sldMkLst>
      </pc:sldChg>
      <pc:sldChg chg="addSp delSp modSp">
        <pc:chgData name="Sandeep Reddy Hanumaihgari" userId="86a9f56c-2e65-4a80-9d64-63b9c07412a6" providerId="ADAL" clId="{0B869DD8-C325-4F0E-8DF6-71CF3DA64C21}" dt="2018-05-05T23:55:44.586" v="90" actId="1076"/>
        <pc:sldMkLst>
          <pc:docMk/>
          <pc:sldMk cId="2343969728" sldId="308"/>
        </pc:sldMkLst>
        <pc:spChg chg="del">
          <ac:chgData name="Sandeep Reddy Hanumaihgari" userId="86a9f56c-2e65-4a80-9d64-63b9c07412a6" providerId="ADAL" clId="{0B869DD8-C325-4F0E-8DF6-71CF3DA64C21}" dt="2018-05-05T23:54:33.593" v="82" actId="478"/>
          <ac:spMkLst>
            <pc:docMk/>
            <pc:sldMk cId="2343969728" sldId="308"/>
            <ac:spMk id="6" creationId="{CA4B3423-2F3D-4D27-A6A5-CF1E2E74102C}"/>
          </ac:spMkLst>
        </pc:spChg>
        <pc:picChg chg="add mod">
          <ac:chgData name="Sandeep Reddy Hanumaihgari" userId="86a9f56c-2e65-4a80-9d64-63b9c07412a6" providerId="ADAL" clId="{0B869DD8-C325-4F0E-8DF6-71CF3DA64C21}" dt="2018-05-05T23:55:38.139" v="89" actId="1076"/>
          <ac:picMkLst>
            <pc:docMk/>
            <pc:sldMk cId="2343969728" sldId="308"/>
            <ac:picMk id="3" creationId="{CC663942-427C-41C3-880B-1AC0A1A75C3B}"/>
          </ac:picMkLst>
        </pc:picChg>
        <pc:picChg chg="mod">
          <ac:chgData name="Sandeep Reddy Hanumaihgari" userId="86a9f56c-2e65-4a80-9d64-63b9c07412a6" providerId="ADAL" clId="{0B869DD8-C325-4F0E-8DF6-71CF3DA64C21}" dt="2018-05-05T23:55:44.586" v="90" actId="1076"/>
          <ac:picMkLst>
            <pc:docMk/>
            <pc:sldMk cId="2343969728" sldId="308"/>
            <ac:picMk id="5" creationId="{C73EB225-2F3C-497B-81FD-6A441DB73FB6}"/>
          </ac:picMkLst>
        </pc:picChg>
      </pc:sldChg>
      <pc:sldChg chg="modSp">
        <pc:chgData name="Sandeep Reddy Hanumaihgari" userId="86a9f56c-2e65-4a80-9d64-63b9c07412a6" providerId="ADAL" clId="{0B869DD8-C325-4F0E-8DF6-71CF3DA64C21}" dt="2018-05-06T00:02:28.099" v="161" actId="20577"/>
        <pc:sldMkLst>
          <pc:docMk/>
          <pc:sldMk cId="155164420" sldId="311"/>
        </pc:sldMkLst>
        <pc:spChg chg="mod">
          <ac:chgData name="Sandeep Reddy Hanumaihgari" userId="86a9f56c-2e65-4a80-9d64-63b9c07412a6" providerId="ADAL" clId="{0B869DD8-C325-4F0E-8DF6-71CF3DA64C21}" dt="2018-05-06T00:02:28.099" v="161" actId="20577"/>
          <ac:spMkLst>
            <pc:docMk/>
            <pc:sldMk cId="155164420" sldId="311"/>
            <ac:spMk id="2" creationId="{F4649204-173C-4072-8076-9AFF10FF1C57}"/>
          </ac:spMkLst>
        </pc:spChg>
      </pc:sldChg>
      <pc:sldChg chg="modSp">
        <pc:chgData name="Sandeep Reddy Hanumaihgari" userId="86a9f56c-2e65-4a80-9d64-63b9c07412a6" providerId="ADAL" clId="{0B869DD8-C325-4F0E-8DF6-71CF3DA64C21}" dt="2018-05-06T00:23:44.162" v="511" actId="20577"/>
        <pc:sldMkLst>
          <pc:docMk/>
          <pc:sldMk cId="118886671" sldId="312"/>
        </pc:sldMkLst>
        <pc:spChg chg="mod">
          <ac:chgData name="Sandeep Reddy Hanumaihgari" userId="86a9f56c-2e65-4a80-9d64-63b9c07412a6" providerId="ADAL" clId="{0B869DD8-C325-4F0E-8DF6-71CF3DA64C21}" dt="2018-05-06T00:23:44.162" v="511" actId="20577"/>
          <ac:spMkLst>
            <pc:docMk/>
            <pc:sldMk cId="118886671" sldId="312"/>
            <ac:spMk id="2" creationId="{EDE70AA1-44B7-4702-B258-0F4E69FDA4A9}"/>
          </ac:spMkLst>
        </pc:spChg>
      </pc:sldChg>
      <pc:sldChg chg="addSp delSp modSp ord">
        <pc:chgData name="Sandeep Reddy Hanumaihgari" userId="86a9f56c-2e65-4a80-9d64-63b9c07412a6" providerId="ADAL" clId="{0B869DD8-C325-4F0E-8DF6-71CF3DA64C21}" dt="2018-05-06T00:30:15.574" v="726" actId="20577"/>
        <pc:sldMkLst>
          <pc:docMk/>
          <pc:sldMk cId="2663082900" sldId="313"/>
        </pc:sldMkLst>
        <pc:spChg chg="del">
          <ac:chgData name="Sandeep Reddy Hanumaihgari" userId="86a9f56c-2e65-4a80-9d64-63b9c07412a6" providerId="ADAL" clId="{0B869DD8-C325-4F0E-8DF6-71CF3DA64C21}" dt="2018-05-06T00:25:37.748" v="512" actId="478"/>
          <ac:spMkLst>
            <pc:docMk/>
            <pc:sldMk cId="2663082900" sldId="313"/>
            <ac:spMk id="3" creationId="{91419243-B61F-4D76-9BAA-F392EC653AE7}"/>
          </ac:spMkLst>
        </pc:spChg>
        <pc:spChg chg="add del mod">
          <ac:chgData name="Sandeep Reddy Hanumaihgari" userId="86a9f56c-2e65-4a80-9d64-63b9c07412a6" providerId="ADAL" clId="{0B869DD8-C325-4F0E-8DF6-71CF3DA64C21}" dt="2018-05-06T00:25:41.403" v="514" actId="478"/>
          <ac:spMkLst>
            <pc:docMk/>
            <pc:sldMk cId="2663082900" sldId="313"/>
            <ac:spMk id="5" creationId="{69CDB792-A564-47FE-92E1-40D968339E9F}"/>
          </ac:spMkLst>
        </pc:spChg>
        <pc:spChg chg="add mod">
          <ac:chgData name="Sandeep Reddy Hanumaihgari" userId="86a9f56c-2e65-4a80-9d64-63b9c07412a6" providerId="ADAL" clId="{0B869DD8-C325-4F0E-8DF6-71CF3DA64C21}" dt="2018-05-06T00:30:15.574" v="726" actId="20577"/>
          <ac:spMkLst>
            <pc:docMk/>
            <pc:sldMk cId="2663082900" sldId="313"/>
            <ac:spMk id="7" creationId="{61D85E9D-2AC0-4477-BBD7-D4103DF8C785}"/>
          </ac:spMkLst>
        </pc:spChg>
        <pc:picChg chg="add mod">
          <ac:chgData name="Sandeep Reddy Hanumaihgari" userId="86a9f56c-2e65-4a80-9d64-63b9c07412a6" providerId="ADAL" clId="{0B869DD8-C325-4F0E-8DF6-71CF3DA64C21}" dt="2018-05-06T00:28:37.929" v="598" actId="1076"/>
          <ac:picMkLst>
            <pc:docMk/>
            <pc:sldMk cId="2663082900" sldId="313"/>
            <ac:picMk id="6" creationId="{D8DBDE6B-BD8E-473B-B170-66F827B88A57}"/>
          </ac:picMkLst>
        </pc:picChg>
        <pc:picChg chg="add mod">
          <ac:chgData name="Sandeep Reddy Hanumaihgari" userId="86a9f56c-2e65-4a80-9d64-63b9c07412a6" providerId="ADAL" clId="{0B869DD8-C325-4F0E-8DF6-71CF3DA64C21}" dt="2018-05-06T00:30:09.289" v="725" actId="1076"/>
          <ac:picMkLst>
            <pc:docMk/>
            <pc:sldMk cId="2663082900" sldId="313"/>
            <ac:picMk id="8" creationId="{E7C87B0C-DA84-4FB8-9F54-E46B96AADFC7}"/>
          </ac:picMkLst>
        </pc:picChg>
      </pc:sldChg>
      <pc:sldChg chg="addSp delSp modSp">
        <pc:chgData name="Sandeep Reddy Hanumaihgari" userId="86a9f56c-2e65-4a80-9d64-63b9c07412a6" providerId="ADAL" clId="{0B869DD8-C325-4F0E-8DF6-71CF3DA64C21}" dt="2018-05-06T00:32:03.877" v="730" actId="1076"/>
        <pc:sldMkLst>
          <pc:docMk/>
          <pc:sldMk cId="1659247958" sldId="315"/>
        </pc:sldMkLst>
        <pc:picChg chg="del">
          <ac:chgData name="Sandeep Reddy Hanumaihgari" userId="86a9f56c-2e65-4a80-9d64-63b9c07412a6" providerId="ADAL" clId="{0B869DD8-C325-4F0E-8DF6-71CF3DA64C21}" dt="2018-05-06T00:31:57.519" v="727" actId="478"/>
          <ac:picMkLst>
            <pc:docMk/>
            <pc:sldMk cId="1659247958" sldId="315"/>
            <ac:picMk id="4" creationId="{782A71C5-EEFE-4533-95BB-9237A5E221CA}"/>
          </ac:picMkLst>
        </pc:picChg>
        <pc:picChg chg="add mod">
          <ac:chgData name="Sandeep Reddy Hanumaihgari" userId="86a9f56c-2e65-4a80-9d64-63b9c07412a6" providerId="ADAL" clId="{0B869DD8-C325-4F0E-8DF6-71CF3DA64C21}" dt="2018-05-06T00:32:03.877" v="730" actId="1076"/>
          <ac:picMkLst>
            <pc:docMk/>
            <pc:sldMk cId="1659247958" sldId="315"/>
            <ac:picMk id="5" creationId="{81141E70-28C5-40B1-82C8-E5A4266A58A8}"/>
          </ac:picMkLst>
        </pc:picChg>
      </pc:sldChg>
      <pc:sldChg chg="addSp delSp modSp">
        <pc:chgData name="Sandeep Reddy Hanumaihgari" userId="86a9f56c-2e65-4a80-9d64-63b9c07412a6" providerId="ADAL" clId="{0B869DD8-C325-4F0E-8DF6-71CF3DA64C21}" dt="2018-05-06T00:38:16.533" v="770" actId="1076"/>
        <pc:sldMkLst>
          <pc:docMk/>
          <pc:sldMk cId="450186137" sldId="316"/>
        </pc:sldMkLst>
        <pc:spChg chg="mod">
          <ac:chgData name="Sandeep Reddy Hanumaihgari" userId="86a9f56c-2e65-4a80-9d64-63b9c07412a6" providerId="ADAL" clId="{0B869DD8-C325-4F0E-8DF6-71CF3DA64C21}" dt="2018-05-06T00:37:27.961" v="759" actId="1076"/>
          <ac:spMkLst>
            <pc:docMk/>
            <pc:sldMk cId="450186137" sldId="316"/>
            <ac:spMk id="3" creationId="{3C348DF6-ED73-4E37-AF1F-0D8E4E79A324}"/>
          </ac:spMkLst>
        </pc:spChg>
        <pc:spChg chg="mod">
          <ac:chgData name="Sandeep Reddy Hanumaihgari" userId="86a9f56c-2e65-4a80-9d64-63b9c07412a6" providerId="ADAL" clId="{0B869DD8-C325-4F0E-8DF6-71CF3DA64C21}" dt="2018-05-06T00:37:51.668" v="767" actId="20577"/>
          <ac:spMkLst>
            <pc:docMk/>
            <pc:sldMk cId="450186137" sldId="316"/>
            <ac:spMk id="5" creationId="{FFE511F1-66E4-4EF0-97AC-0FC54048C21C}"/>
          </ac:spMkLst>
        </pc:spChg>
        <pc:spChg chg="add del mod">
          <ac:chgData name="Sandeep Reddy Hanumaihgari" userId="86a9f56c-2e65-4a80-9d64-63b9c07412a6" providerId="ADAL" clId="{0B869DD8-C325-4F0E-8DF6-71CF3DA64C21}" dt="2018-05-06T00:34:35.558" v="736" actId="478"/>
          <ac:spMkLst>
            <pc:docMk/>
            <pc:sldMk cId="450186137" sldId="316"/>
            <ac:spMk id="6" creationId="{70EDF37C-7AC0-4A81-87B1-BCA4E04D076E}"/>
          </ac:spMkLst>
        </pc:spChg>
        <pc:picChg chg="del">
          <ac:chgData name="Sandeep Reddy Hanumaihgari" userId="86a9f56c-2e65-4a80-9d64-63b9c07412a6" providerId="ADAL" clId="{0B869DD8-C325-4F0E-8DF6-71CF3DA64C21}" dt="2018-05-06T00:34:06.652" v="731" actId="478"/>
          <ac:picMkLst>
            <pc:docMk/>
            <pc:sldMk cId="450186137" sldId="316"/>
            <ac:picMk id="4" creationId="{CB81D9E6-3D60-4CDB-8797-75440D95BC2D}"/>
          </ac:picMkLst>
        </pc:picChg>
        <pc:picChg chg="add mod">
          <ac:chgData name="Sandeep Reddy Hanumaihgari" userId="86a9f56c-2e65-4a80-9d64-63b9c07412a6" providerId="ADAL" clId="{0B869DD8-C325-4F0E-8DF6-71CF3DA64C21}" dt="2018-05-06T00:38:16.533" v="770" actId="1076"/>
          <ac:picMkLst>
            <pc:docMk/>
            <pc:sldMk cId="450186137" sldId="316"/>
            <ac:picMk id="7" creationId="{DE750285-8CE7-43BD-A8A0-7D97846996D7}"/>
          </ac:picMkLst>
        </pc:picChg>
      </pc:sldChg>
      <pc:sldChg chg="addSp delSp modSp">
        <pc:chgData name="Sandeep Reddy Hanumaihgari" userId="86a9f56c-2e65-4a80-9d64-63b9c07412a6" providerId="ADAL" clId="{0B869DD8-C325-4F0E-8DF6-71CF3DA64C21}" dt="2018-05-06T00:35:26.726" v="752" actId="1076"/>
        <pc:sldMkLst>
          <pc:docMk/>
          <pc:sldMk cId="2930424776" sldId="317"/>
        </pc:sldMkLst>
        <pc:spChg chg="del">
          <ac:chgData name="Sandeep Reddy Hanumaihgari" userId="86a9f56c-2e65-4a80-9d64-63b9c07412a6" providerId="ADAL" clId="{0B869DD8-C325-4F0E-8DF6-71CF3DA64C21}" dt="2018-05-06T00:34:12.838" v="732" actId="1076"/>
          <ac:spMkLst>
            <pc:docMk/>
            <pc:sldMk cId="2930424776" sldId="317"/>
            <ac:spMk id="5" creationId="{BFF3C905-02AE-4C4F-8A7C-1DC929D38D75}"/>
          </ac:spMkLst>
        </pc:spChg>
        <pc:picChg chg="add mod">
          <ac:chgData name="Sandeep Reddy Hanumaihgari" userId="86a9f56c-2e65-4a80-9d64-63b9c07412a6" providerId="ADAL" clId="{0B869DD8-C325-4F0E-8DF6-71CF3DA64C21}" dt="2018-05-06T00:35:26.726" v="752" actId="1076"/>
          <ac:picMkLst>
            <pc:docMk/>
            <pc:sldMk cId="2930424776" sldId="317"/>
            <ac:picMk id="3" creationId="{D3DF746F-BCD4-4C27-B09F-F6B76928A9EF}"/>
          </ac:picMkLst>
        </pc:picChg>
        <pc:picChg chg="mod">
          <ac:chgData name="Sandeep Reddy Hanumaihgari" userId="86a9f56c-2e65-4a80-9d64-63b9c07412a6" providerId="ADAL" clId="{0B869DD8-C325-4F0E-8DF6-71CF3DA64C21}" dt="2018-05-06T00:35:14.385" v="749" actId="1076"/>
          <ac:picMkLst>
            <pc:docMk/>
            <pc:sldMk cId="2930424776" sldId="317"/>
            <ac:picMk id="4" creationId="{FBD637FE-EC06-4752-8AA4-2EE08F353970}"/>
          </ac:picMkLst>
        </pc:picChg>
      </pc:sldChg>
      <pc:sldChg chg="addSp delSp modSp add">
        <pc:chgData name="Sandeep Reddy Hanumaihgari" userId="86a9f56c-2e65-4a80-9d64-63b9c07412a6" providerId="ADAL" clId="{0B869DD8-C325-4F0E-8DF6-71CF3DA64C21}" dt="2018-05-05T23:52:56.877" v="66" actId="313"/>
        <pc:sldMkLst>
          <pc:docMk/>
          <pc:sldMk cId="3687601450" sldId="320"/>
        </pc:sldMkLst>
        <pc:spChg chg="del">
          <ac:chgData name="Sandeep Reddy Hanumaihgari" userId="86a9f56c-2e65-4a80-9d64-63b9c07412a6" providerId="ADAL" clId="{0B869DD8-C325-4F0E-8DF6-71CF3DA64C21}" dt="2018-05-05T23:51:31.843" v="43" actId="313"/>
          <ac:spMkLst>
            <pc:docMk/>
            <pc:sldMk cId="3687601450" sldId="320"/>
            <ac:spMk id="2" creationId="{9052D0E8-BC38-4AE1-8484-79F5F492B24F}"/>
          </ac:spMkLst>
        </pc:spChg>
        <pc:spChg chg="del">
          <ac:chgData name="Sandeep Reddy Hanumaihgari" userId="86a9f56c-2e65-4a80-9d64-63b9c07412a6" providerId="ADAL" clId="{0B869DD8-C325-4F0E-8DF6-71CF3DA64C21}" dt="2018-05-05T23:51:58.548" v="51" actId="313"/>
          <ac:spMkLst>
            <pc:docMk/>
            <pc:sldMk cId="3687601450" sldId="320"/>
            <ac:spMk id="3" creationId="{1B4D907B-920E-4653-8557-5F9D9ECA00BA}"/>
          </ac:spMkLst>
        </pc:spChg>
        <pc:spChg chg="add mod">
          <ac:chgData name="Sandeep Reddy Hanumaihgari" userId="86a9f56c-2e65-4a80-9d64-63b9c07412a6" providerId="ADAL" clId="{0B869DD8-C325-4F0E-8DF6-71CF3DA64C21}" dt="2018-05-05T23:52:56.877" v="66" actId="313"/>
          <ac:spMkLst>
            <pc:docMk/>
            <pc:sldMk cId="3687601450" sldId="320"/>
            <ac:spMk id="4" creationId="{673A5E7D-AEF1-4096-B536-D9CCAFAEC1C5}"/>
          </ac:spMkLst>
        </pc:spChg>
        <pc:picChg chg="add mod">
          <ac:chgData name="Sandeep Reddy Hanumaihgari" userId="86a9f56c-2e65-4a80-9d64-63b9c07412a6" providerId="ADAL" clId="{0B869DD8-C325-4F0E-8DF6-71CF3DA64C21}" dt="2018-05-05T23:52:39.714" v="65" actId="14100"/>
          <ac:picMkLst>
            <pc:docMk/>
            <pc:sldMk cId="3687601450" sldId="320"/>
            <ac:picMk id="5" creationId="{0ABAC261-5EB5-4AFA-A537-F275041DF8EF}"/>
          </ac:picMkLst>
        </pc:picChg>
        <pc:picChg chg="add mod">
          <ac:chgData name="Sandeep Reddy Hanumaihgari" userId="86a9f56c-2e65-4a80-9d64-63b9c07412a6" providerId="ADAL" clId="{0B869DD8-C325-4F0E-8DF6-71CF3DA64C21}" dt="2018-05-05T23:52:36.086" v="64" actId="1076"/>
          <ac:picMkLst>
            <pc:docMk/>
            <pc:sldMk cId="3687601450" sldId="320"/>
            <ac:picMk id="6" creationId="{71BF43F8-4086-414D-BB97-8DF001BE13B7}"/>
          </ac:picMkLst>
        </pc:picChg>
      </pc:sldChg>
      <pc:sldChg chg="addSp delSp modSp add">
        <pc:chgData name="Sandeep Reddy Hanumaihgari" userId="86a9f56c-2e65-4a80-9d64-63b9c07412a6" providerId="ADAL" clId="{0B869DD8-C325-4F0E-8DF6-71CF3DA64C21}" dt="2018-05-05T23:57:04.404" v="95" actId="1076"/>
        <pc:sldMkLst>
          <pc:docMk/>
          <pc:sldMk cId="4101605229" sldId="321"/>
        </pc:sldMkLst>
        <pc:spChg chg="mod">
          <ac:chgData name="Sandeep Reddy Hanumaihgari" userId="86a9f56c-2e65-4a80-9d64-63b9c07412a6" providerId="ADAL" clId="{0B869DD8-C325-4F0E-8DF6-71CF3DA64C21}" dt="2018-05-05T23:53:33.802" v="81" actId="20577"/>
          <ac:spMkLst>
            <pc:docMk/>
            <pc:sldMk cId="4101605229" sldId="321"/>
            <ac:spMk id="2" creationId="{A72A9A4E-82C1-4EA2-B39B-E31F79196F8B}"/>
          </ac:spMkLst>
        </pc:spChg>
        <pc:spChg chg="del">
          <ac:chgData name="Sandeep Reddy Hanumaihgari" userId="86a9f56c-2e65-4a80-9d64-63b9c07412a6" providerId="ADAL" clId="{0B869DD8-C325-4F0E-8DF6-71CF3DA64C21}" dt="2018-05-05T23:56:59.402" v="93" actId="478"/>
          <ac:spMkLst>
            <pc:docMk/>
            <pc:sldMk cId="4101605229" sldId="321"/>
            <ac:spMk id="3" creationId="{F8A26CD0-E5BB-40E9-A13E-EFDC0FCB41F3}"/>
          </ac:spMkLst>
        </pc:spChg>
        <pc:spChg chg="add del">
          <ac:chgData name="Sandeep Reddy Hanumaihgari" userId="86a9f56c-2e65-4a80-9d64-63b9c07412a6" providerId="ADAL" clId="{0B869DD8-C325-4F0E-8DF6-71CF3DA64C21}" dt="2018-05-05T23:53:26.451" v="69" actId="1076"/>
          <ac:spMkLst>
            <pc:docMk/>
            <pc:sldMk cId="4101605229" sldId="321"/>
            <ac:spMk id="4" creationId="{83388B7F-61EA-4259-A996-BDFA68060402}"/>
          </ac:spMkLst>
        </pc:spChg>
        <pc:picChg chg="add mod">
          <ac:chgData name="Sandeep Reddy Hanumaihgari" userId="86a9f56c-2e65-4a80-9d64-63b9c07412a6" providerId="ADAL" clId="{0B869DD8-C325-4F0E-8DF6-71CF3DA64C21}" dt="2018-05-05T23:57:04.404" v="95" actId="1076"/>
          <ac:picMkLst>
            <pc:docMk/>
            <pc:sldMk cId="4101605229" sldId="321"/>
            <ac:picMk id="5" creationId="{055552BE-2D4E-4343-8A26-BE94B80A9A21}"/>
          </ac:picMkLst>
        </pc:picChg>
      </pc:sldChg>
      <pc:sldChg chg="addSp delSp modSp add ord">
        <pc:chgData name="Sandeep Reddy Hanumaihgari" userId="86a9f56c-2e65-4a80-9d64-63b9c07412a6" providerId="ADAL" clId="{0B869DD8-C325-4F0E-8DF6-71CF3DA64C21}" dt="2018-05-06T00:14:28.270" v="300" actId="1076"/>
        <pc:sldMkLst>
          <pc:docMk/>
          <pc:sldMk cId="4003560483" sldId="322"/>
        </pc:sldMkLst>
        <pc:spChg chg="mod">
          <ac:chgData name="Sandeep Reddy Hanumaihgari" userId="86a9f56c-2e65-4a80-9d64-63b9c07412a6" providerId="ADAL" clId="{0B869DD8-C325-4F0E-8DF6-71CF3DA64C21}" dt="2018-05-05T23:59:17.074" v="138" actId="20577"/>
          <ac:spMkLst>
            <pc:docMk/>
            <pc:sldMk cId="4003560483" sldId="322"/>
            <ac:spMk id="2" creationId="{0DA69471-1761-48F7-B4D1-B417237FE830}"/>
          </ac:spMkLst>
        </pc:spChg>
        <pc:spChg chg="del">
          <ac:chgData name="Sandeep Reddy Hanumaihgari" userId="86a9f56c-2e65-4a80-9d64-63b9c07412a6" providerId="ADAL" clId="{0B869DD8-C325-4F0E-8DF6-71CF3DA64C21}" dt="2018-05-05T23:59:50.106" v="139" actId="1076"/>
          <ac:spMkLst>
            <pc:docMk/>
            <pc:sldMk cId="4003560483" sldId="322"/>
            <ac:spMk id="3" creationId="{61F5CDC2-DA5C-4890-9A05-0E833C49DBFB}"/>
          </ac:spMkLst>
        </pc:spChg>
        <pc:picChg chg="add mod">
          <ac:chgData name="Sandeep Reddy Hanumaihgari" userId="86a9f56c-2e65-4a80-9d64-63b9c07412a6" providerId="ADAL" clId="{0B869DD8-C325-4F0E-8DF6-71CF3DA64C21}" dt="2018-05-06T00:01:27.135" v="157" actId="1076"/>
          <ac:picMkLst>
            <pc:docMk/>
            <pc:sldMk cId="4003560483" sldId="322"/>
            <ac:picMk id="4" creationId="{94C7B676-538C-4495-95AD-20243FA6776C}"/>
          </ac:picMkLst>
        </pc:picChg>
        <pc:picChg chg="add mod">
          <ac:chgData name="Sandeep Reddy Hanumaihgari" userId="86a9f56c-2e65-4a80-9d64-63b9c07412a6" providerId="ADAL" clId="{0B869DD8-C325-4F0E-8DF6-71CF3DA64C21}" dt="2018-05-06T00:01:35.365" v="160" actId="1076"/>
          <ac:picMkLst>
            <pc:docMk/>
            <pc:sldMk cId="4003560483" sldId="322"/>
            <ac:picMk id="5" creationId="{8BC2E5A1-E6B4-4F2C-ADE0-03721BC7188A}"/>
          </ac:picMkLst>
        </pc:picChg>
        <pc:picChg chg="add mod">
          <ac:chgData name="Sandeep Reddy Hanumaihgari" userId="86a9f56c-2e65-4a80-9d64-63b9c07412a6" providerId="ADAL" clId="{0B869DD8-C325-4F0E-8DF6-71CF3DA64C21}" dt="2018-05-06T00:01:28.479" v="158" actId="1076"/>
          <ac:picMkLst>
            <pc:docMk/>
            <pc:sldMk cId="4003560483" sldId="322"/>
            <ac:picMk id="6" creationId="{FE8C1265-2450-4825-9594-B4FEC1675C57}"/>
          </ac:picMkLst>
        </pc:picChg>
      </pc:sldChg>
      <pc:sldChg chg="addSp delSp modSp add">
        <pc:chgData name="Sandeep Reddy Hanumaihgari" userId="86a9f56c-2e65-4a80-9d64-63b9c07412a6" providerId="ADAL" clId="{0B869DD8-C325-4F0E-8DF6-71CF3DA64C21}" dt="2018-05-06T00:13:25.765" v="265" actId="1076"/>
        <pc:sldMkLst>
          <pc:docMk/>
          <pc:sldMk cId="735192501" sldId="323"/>
        </pc:sldMkLst>
        <pc:spChg chg="mod">
          <ac:chgData name="Sandeep Reddy Hanumaihgari" userId="86a9f56c-2e65-4a80-9d64-63b9c07412a6" providerId="ADAL" clId="{0B869DD8-C325-4F0E-8DF6-71CF3DA64C21}" dt="2018-05-06T00:08:57.799" v="246" actId="20577"/>
          <ac:spMkLst>
            <pc:docMk/>
            <pc:sldMk cId="735192501" sldId="323"/>
            <ac:spMk id="2" creationId="{55994E71-2D8E-4098-9D39-012C02A551D2}"/>
          </ac:spMkLst>
        </pc:spChg>
        <pc:spChg chg="del">
          <ac:chgData name="Sandeep Reddy Hanumaihgari" userId="86a9f56c-2e65-4a80-9d64-63b9c07412a6" providerId="ADAL" clId="{0B869DD8-C325-4F0E-8DF6-71CF3DA64C21}" dt="2018-05-06T00:08:24.974" v="171" actId="478"/>
          <ac:spMkLst>
            <pc:docMk/>
            <pc:sldMk cId="735192501" sldId="323"/>
            <ac:spMk id="3" creationId="{E2E696B9-C5B7-48B9-93FA-0A61EF8931F6}"/>
          </ac:spMkLst>
        </pc:spChg>
        <pc:picChg chg="add mod">
          <ac:chgData name="Sandeep Reddy Hanumaihgari" userId="86a9f56c-2e65-4a80-9d64-63b9c07412a6" providerId="ADAL" clId="{0B869DD8-C325-4F0E-8DF6-71CF3DA64C21}" dt="2018-05-06T00:13:25.765" v="265" actId="1076"/>
          <ac:picMkLst>
            <pc:docMk/>
            <pc:sldMk cId="735192501" sldId="323"/>
            <ac:picMk id="4" creationId="{7CC6D4D0-E878-4D87-A653-5F911E90C1AC}"/>
          </ac:picMkLst>
        </pc:picChg>
        <pc:picChg chg="add del mod">
          <ac:chgData name="Sandeep Reddy Hanumaihgari" userId="86a9f56c-2e65-4a80-9d64-63b9c07412a6" providerId="ADAL" clId="{0B869DD8-C325-4F0E-8DF6-71CF3DA64C21}" dt="2018-05-06T00:13:07.018" v="257" actId="1076"/>
          <ac:picMkLst>
            <pc:docMk/>
            <pc:sldMk cId="735192501" sldId="323"/>
            <ac:picMk id="5" creationId="{2BCD2AA2-239E-4812-96F3-583FE327C3AA}"/>
          </ac:picMkLst>
        </pc:picChg>
      </pc:sldChg>
      <pc:sldChg chg="addSp delSp modSp add">
        <pc:chgData name="Sandeep Reddy Hanumaihgari" userId="86a9f56c-2e65-4a80-9d64-63b9c07412a6" providerId="ADAL" clId="{0B869DD8-C325-4F0E-8DF6-71CF3DA64C21}" dt="2018-05-06T00:13:45.101" v="299" actId="14100"/>
        <pc:sldMkLst>
          <pc:docMk/>
          <pc:sldMk cId="1642193477" sldId="324"/>
        </pc:sldMkLst>
        <pc:spChg chg="mod">
          <ac:chgData name="Sandeep Reddy Hanumaihgari" userId="86a9f56c-2e65-4a80-9d64-63b9c07412a6" providerId="ADAL" clId="{0B869DD8-C325-4F0E-8DF6-71CF3DA64C21}" dt="2018-05-06T00:13:40.413" v="298" actId="20577"/>
          <ac:spMkLst>
            <pc:docMk/>
            <pc:sldMk cId="1642193477" sldId="324"/>
            <ac:spMk id="2" creationId="{4A336CA3-6B6B-49C2-8570-41FD18E52644}"/>
          </ac:spMkLst>
        </pc:spChg>
        <pc:spChg chg="del">
          <ac:chgData name="Sandeep Reddy Hanumaihgari" userId="86a9f56c-2e65-4a80-9d64-63b9c07412a6" providerId="ADAL" clId="{0B869DD8-C325-4F0E-8DF6-71CF3DA64C21}" dt="2018-05-06T00:13:12.417" v="260" actId="478"/>
          <ac:spMkLst>
            <pc:docMk/>
            <pc:sldMk cId="1642193477" sldId="324"/>
            <ac:spMk id="3" creationId="{BB1A5CFB-8F85-484C-AC2A-CDC5331EAE57}"/>
          </ac:spMkLst>
        </pc:spChg>
        <pc:picChg chg="add mod">
          <ac:chgData name="Sandeep Reddy Hanumaihgari" userId="86a9f56c-2e65-4a80-9d64-63b9c07412a6" providerId="ADAL" clId="{0B869DD8-C325-4F0E-8DF6-71CF3DA64C21}" dt="2018-05-06T00:13:45.101" v="299" actId="14100"/>
          <ac:picMkLst>
            <pc:docMk/>
            <pc:sldMk cId="1642193477" sldId="324"/>
            <ac:picMk id="4" creationId="{1DF845DF-7E3D-4C53-BA5F-CAB262A67F54}"/>
          </ac:picMkLst>
        </pc:picChg>
      </pc:sldChg>
      <pc:sldChg chg="addSp delSp modSp add">
        <pc:chgData name="Sandeep Reddy Hanumaihgari" userId="86a9f56c-2e65-4a80-9d64-63b9c07412a6" providerId="ADAL" clId="{0B869DD8-C325-4F0E-8DF6-71CF3DA64C21}" dt="2018-05-06T00:20:34.669" v="424" actId="20577"/>
        <pc:sldMkLst>
          <pc:docMk/>
          <pc:sldMk cId="305692478" sldId="325"/>
        </pc:sldMkLst>
        <pc:spChg chg="mod">
          <ac:chgData name="Sandeep Reddy Hanumaihgari" userId="86a9f56c-2e65-4a80-9d64-63b9c07412a6" providerId="ADAL" clId="{0B869DD8-C325-4F0E-8DF6-71CF3DA64C21}" dt="2018-05-06T00:20:34.669" v="424" actId="20577"/>
          <ac:spMkLst>
            <pc:docMk/>
            <pc:sldMk cId="305692478" sldId="325"/>
            <ac:spMk id="2" creationId="{BFBE825B-0F88-4D86-96D1-04B1520DE792}"/>
          </ac:spMkLst>
        </pc:spChg>
        <pc:spChg chg="del">
          <ac:chgData name="Sandeep Reddy Hanumaihgari" userId="86a9f56c-2e65-4a80-9d64-63b9c07412a6" providerId="ADAL" clId="{0B869DD8-C325-4F0E-8DF6-71CF3DA64C21}" dt="2018-05-06T00:15:25.336" v="314" actId="478"/>
          <ac:spMkLst>
            <pc:docMk/>
            <pc:sldMk cId="305692478" sldId="325"/>
            <ac:spMk id="3" creationId="{3FD31A50-CF7E-4844-B3F1-E6078F1FE9A7}"/>
          </ac:spMkLst>
        </pc:spChg>
        <pc:picChg chg="add mod">
          <ac:chgData name="Sandeep Reddy Hanumaihgari" userId="86a9f56c-2e65-4a80-9d64-63b9c07412a6" providerId="ADAL" clId="{0B869DD8-C325-4F0E-8DF6-71CF3DA64C21}" dt="2018-05-06T00:16:10.136" v="318" actId="1076"/>
          <ac:picMkLst>
            <pc:docMk/>
            <pc:sldMk cId="305692478" sldId="325"/>
            <ac:picMk id="4" creationId="{0928943E-6DA3-46B4-944A-809AD336EC09}"/>
          </ac:picMkLst>
        </pc:picChg>
      </pc:sldChg>
      <pc:sldChg chg="addSp delSp modSp add">
        <pc:chgData name="Sandeep Reddy Hanumaihgari" userId="86a9f56c-2e65-4a80-9d64-63b9c07412a6" providerId="ADAL" clId="{0B869DD8-C325-4F0E-8DF6-71CF3DA64C21}" dt="2018-05-06T00:20:39.196" v="425" actId="20577"/>
        <pc:sldMkLst>
          <pc:docMk/>
          <pc:sldMk cId="1125205113" sldId="326"/>
        </pc:sldMkLst>
        <pc:spChg chg="mod">
          <ac:chgData name="Sandeep Reddy Hanumaihgari" userId="86a9f56c-2e65-4a80-9d64-63b9c07412a6" providerId="ADAL" clId="{0B869DD8-C325-4F0E-8DF6-71CF3DA64C21}" dt="2018-05-06T00:20:39.196" v="425" actId="20577"/>
          <ac:spMkLst>
            <pc:docMk/>
            <pc:sldMk cId="1125205113" sldId="326"/>
            <ac:spMk id="2" creationId="{62B59F84-DD9B-4249-9E33-2E56DCB4CD7C}"/>
          </ac:spMkLst>
        </pc:spChg>
        <pc:spChg chg="del">
          <ac:chgData name="Sandeep Reddy Hanumaihgari" userId="86a9f56c-2e65-4a80-9d64-63b9c07412a6" providerId="ADAL" clId="{0B869DD8-C325-4F0E-8DF6-71CF3DA64C21}" dt="2018-05-06T00:16:23.902" v="341" actId="478"/>
          <ac:spMkLst>
            <pc:docMk/>
            <pc:sldMk cId="1125205113" sldId="326"/>
            <ac:spMk id="3" creationId="{7877A2AE-7FDA-4468-A5F7-B95D0EE65E1D}"/>
          </ac:spMkLst>
        </pc:spChg>
        <pc:picChg chg="add mod">
          <ac:chgData name="Sandeep Reddy Hanumaihgari" userId="86a9f56c-2e65-4a80-9d64-63b9c07412a6" providerId="ADAL" clId="{0B869DD8-C325-4F0E-8DF6-71CF3DA64C21}" dt="2018-05-06T00:16:57.876" v="345" actId="1076"/>
          <ac:picMkLst>
            <pc:docMk/>
            <pc:sldMk cId="1125205113" sldId="326"/>
            <ac:picMk id="4" creationId="{62F84626-DA74-43EF-889F-567672D91987}"/>
          </ac:picMkLst>
        </pc:picChg>
      </pc:sldChg>
      <pc:sldChg chg="addSp delSp modSp add">
        <pc:chgData name="Sandeep Reddy Hanumaihgari" userId="86a9f56c-2e65-4a80-9d64-63b9c07412a6" providerId="ADAL" clId="{0B869DD8-C325-4F0E-8DF6-71CF3DA64C21}" dt="2018-05-06T00:17:43.424" v="371" actId="1076"/>
        <pc:sldMkLst>
          <pc:docMk/>
          <pc:sldMk cId="3178801139" sldId="327"/>
        </pc:sldMkLst>
        <pc:spChg chg="mod">
          <ac:chgData name="Sandeep Reddy Hanumaihgari" userId="86a9f56c-2e65-4a80-9d64-63b9c07412a6" providerId="ADAL" clId="{0B869DD8-C325-4F0E-8DF6-71CF3DA64C21}" dt="2018-05-06T00:17:19.242" v="368" actId="20577"/>
          <ac:spMkLst>
            <pc:docMk/>
            <pc:sldMk cId="3178801139" sldId="327"/>
            <ac:spMk id="2" creationId="{65C61727-B3D9-4BE4-BDCB-19FCB6C1C974}"/>
          </ac:spMkLst>
        </pc:spChg>
        <pc:spChg chg="del">
          <ac:chgData name="Sandeep Reddy Hanumaihgari" userId="86a9f56c-2e65-4a80-9d64-63b9c07412a6" providerId="ADAL" clId="{0B869DD8-C325-4F0E-8DF6-71CF3DA64C21}" dt="2018-05-06T00:17:41.134" v="370" actId="478"/>
          <ac:spMkLst>
            <pc:docMk/>
            <pc:sldMk cId="3178801139" sldId="327"/>
            <ac:spMk id="3" creationId="{16DBC326-1F0F-4665-9D2D-B54EFEB3C3CE}"/>
          </ac:spMkLst>
        </pc:spChg>
        <pc:picChg chg="add mod">
          <ac:chgData name="Sandeep Reddy Hanumaihgari" userId="86a9f56c-2e65-4a80-9d64-63b9c07412a6" providerId="ADAL" clId="{0B869DD8-C325-4F0E-8DF6-71CF3DA64C21}" dt="2018-05-06T00:17:43.424" v="371" actId="1076"/>
          <ac:picMkLst>
            <pc:docMk/>
            <pc:sldMk cId="3178801139" sldId="327"/>
            <ac:picMk id="4" creationId="{7EDF468D-0861-4ABA-80ED-0EF848A87A8F}"/>
          </ac:picMkLst>
        </pc:picChg>
      </pc:sldChg>
      <pc:sldChg chg="addSp delSp modSp add">
        <pc:chgData name="Sandeep Reddy Hanumaihgari" userId="86a9f56c-2e65-4a80-9d64-63b9c07412a6" providerId="ADAL" clId="{0B869DD8-C325-4F0E-8DF6-71CF3DA64C21}" dt="2018-05-06T00:18:57.775" v="394" actId="1076"/>
        <pc:sldMkLst>
          <pc:docMk/>
          <pc:sldMk cId="2721514529" sldId="328"/>
        </pc:sldMkLst>
        <pc:spChg chg="mod">
          <ac:chgData name="Sandeep Reddy Hanumaihgari" userId="86a9f56c-2e65-4a80-9d64-63b9c07412a6" providerId="ADAL" clId="{0B869DD8-C325-4F0E-8DF6-71CF3DA64C21}" dt="2018-05-06T00:18:47.269" v="390" actId="20577"/>
          <ac:spMkLst>
            <pc:docMk/>
            <pc:sldMk cId="2721514529" sldId="328"/>
            <ac:spMk id="2" creationId="{0E2FE13B-8B69-4042-80DE-1F43E8146099}"/>
          </ac:spMkLst>
        </pc:spChg>
        <pc:spChg chg="del">
          <ac:chgData name="Sandeep Reddy Hanumaihgari" userId="86a9f56c-2e65-4a80-9d64-63b9c07412a6" providerId="ADAL" clId="{0B869DD8-C325-4F0E-8DF6-71CF3DA64C21}" dt="2018-05-06T00:18:50.037" v="391" actId="478"/>
          <ac:spMkLst>
            <pc:docMk/>
            <pc:sldMk cId="2721514529" sldId="328"/>
            <ac:spMk id="3" creationId="{71E09FEE-DAE6-4BD0-8099-D371B6D0F733}"/>
          </ac:spMkLst>
        </pc:spChg>
        <pc:picChg chg="add mod">
          <ac:chgData name="Sandeep Reddy Hanumaihgari" userId="86a9f56c-2e65-4a80-9d64-63b9c07412a6" providerId="ADAL" clId="{0B869DD8-C325-4F0E-8DF6-71CF3DA64C21}" dt="2018-05-06T00:18:57.775" v="394" actId="1076"/>
          <ac:picMkLst>
            <pc:docMk/>
            <pc:sldMk cId="2721514529" sldId="328"/>
            <ac:picMk id="4" creationId="{C6BCF1B0-36A0-4553-A782-3C66A0F0B707}"/>
          </ac:picMkLst>
        </pc:picChg>
      </pc:sldChg>
      <pc:sldChg chg="addSp delSp modSp add">
        <pc:chgData name="Sandeep Reddy Hanumaihgari" userId="86a9f56c-2e65-4a80-9d64-63b9c07412a6" providerId="ADAL" clId="{0B869DD8-C325-4F0E-8DF6-71CF3DA64C21}" dt="2018-05-06T00:19:56.845" v="423" actId="1076"/>
        <pc:sldMkLst>
          <pc:docMk/>
          <pc:sldMk cId="368448144" sldId="329"/>
        </pc:sldMkLst>
        <pc:spChg chg="mod">
          <ac:chgData name="Sandeep Reddy Hanumaihgari" userId="86a9f56c-2e65-4a80-9d64-63b9c07412a6" providerId="ADAL" clId="{0B869DD8-C325-4F0E-8DF6-71CF3DA64C21}" dt="2018-05-06T00:19:35.283" v="414" actId="20577"/>
          <ac:spMkLst>
            <pc:docMk/>
            <pc:sldMk cId="368448144" sldId="329"/>
            <ac:spMk id="2" creationId="{CFECEDED-D19E-42F7-8EF5-743CFD61E873}"/>
          </ac:spMkLst>
        </pc:spChg>
        <pc:spChg chg="del">
          <ac:chgData name="Sandeep Reddy Hanumaihgari" userId="86a9f56c-2e65-4a80-9d64-63b9c07412a6" providerId="ADAL" clId="{0B869DD8-C325-4F0E-8DF6-71CF3DA64C21}" dt="2018-05-06T00:19:37.946" v="415" actId="478"/>
          <ac:spMkLst>
            <pc:docMk/>
            <pc:sldMk cId="368448144" sldId="329"/>
            <ac:spMk id="3" creationId="{991C8503-050C-47A3-A538-D962132F4A05}"/>
          </ac:spMkLst>
        </pc:spChg>
        <pc:picChg chg="add mod">
          <ac:chgData name="Sandeep Reddy Hanumaihgari" userId="86a9f56c-2e65-4a80-9d64-63b9c07412a6" providerId="ADAL" clId="{0B869DD8-C325-4F0E-8DF6-71CF3DA64C21}" dt="2018-05-06T00:19:56.845" v="423" actId="1076"/>
          <ac:picMkLst>
            <pc:docMk/>
            <pc:sldMk cId="368448144" sldId="329"/>
            <ac:picMk id="4" creationId="{AB1DF8F1-D32F-44E5-9BCE-FAD84C1C4BB0}"/>
          </ac:picMkLst>
        </pc:picChg>
      </pc:sldChg>
      <pc:sldChg chg="addSp delSp modSp add ord">
        <pc:chgData name="Sandeep Reddy Hanumaihgari" userId="86a9f56c-2e65-4a80-9d64-63b9c07412a6" providerId="ADAL" clId="{0B869DD8-C325-4F0E-8DF6-71CF3DA64C21}" dt="2018-05-06T00:26:50.985" v="520" actId="20577"/>
        <pc:sldMkLst>
          <pc:docMk/>
          <pc:sldMk cId="2730982754" sldId="330"/>
        </pc:sldMkLst>
        <pc:spChg chg="mod">
          <ac:chgData name="Sandeep Reddy Hanumaihgari" userId="86a9f56c-2e65-4a80-9d64-63b9c07412a6" providerId="ADAL" clId="{0B869DD8-C325-4F0E-8DF6-71CF3DA64C21}" dt="2018-05-06T00:26:50.985" v="520" actId="20577"/>
          <ac:spMkLst>
            <pc:docMk/>
            <pc:sldMk cId="2730982754" sldId="330"/>
            <ac:spMk id="2" creationId="{DCABE18C-3247-4A93-AB5C-F58485B07069}"/>
          </ac:spMkLst>
        </pc:spChg>
        <pc:spChg chg="del">
          <ac:chgData name="Sandeep Reddy Hanumaihgari" userId="86a9f56c-2e65-4a80-9d64-63b9c07412a6" providerId="ADAL" clId="{0B869DD8-C325-4F0E-8DF6-71CF3DA64C21}" dt="2018-05-06T00:22:59.893" v="447" actId="20577"/>
          <ac:spMkLst>
            <pc:docMk/>
            <pc:sldMk cId="2730982754" sldId="330"/>
            <ac:spMk id="3" creationId="{915D8FB5-6271-4600-8838-8CDD906A957E}"/>
          </ac:spMkLst>
        </pc:spChg>
        <pc:picChg chg="add mod">
          <ac:chgData name="Sandeep Reddy Hanumaihgari" userId="86a9f56c-2e65-4a80-9d64-63b9c07412a6" providerId="ADAL" clId="{0B869DD8-C325-4F0E-8DF6-71CF3DA64C21}" dt="2018-05-06T00:23:01.761" v="448" actId="1076"/>
          <ac:picMkLst>
            <pc:docMk/>
            <pc:sldMk cId="2730982754" sldId="330"/>
            <ac:picMk id="4" creationId="{95ECB9A4-F5E6-471F-B8D8-15317D237C5D}"/>
          </ac:picMkLst>
        </pc:picChg>
      </pc:sldChg>
      <pc:sldChg chg="addSp delSp modSp add ord">
        <pc:chgData name="Sandeep Reddy Hanumaihgari" userId="86a9f56c-2e65-4a80-9d64-63b9c07412a6" providerId="ADAL" clId="{0B869DD8-C325-4F0E-8DF6-71CF3DA64C21}" dt="2018-05-06T00:46:42.249" v="1012" actId="1076"/>
        <pc:sldMkLst>
          <pc:docMk/>
          <pc:sldMk cId="875560910" sldId="331"/>
        </pc:sldMkLst>
        <pc:spChg chg="mod">
          <ac:chgData name="Sandeep Reddy Hanumaihgari" userId="86a9f56c-2e65-4a80-9d64-63b9c07412a6" providerId="ADAL" clId="{0B869DD8-C325-4F0E-8DF6-71CF3DA64C21}" dt="2018-05-06T00:41:25.593" v="905" actId="6549"/>
          <ac:spMkLst>
            <pc:docMk/>
            <pc:sldMk cId="875560910" sldId="331"/>
            <ac:spMk id="2" creationId="{46902762-89EB-4592-BEF9-9C37401EF4D2}"/>
          </ac:spMkLst>
        </pc:spChg>
        <pc:spChg chg="del">
          <ac:chgData name="Sandeep Reddy Hanumaihgari" userId="86a9f56c-2e65-4a80-9d64-63b9c07412a6" providerId="ADAL" clId="{0B869DD8-C325-4F0E-8DF6-71CF3DA64C21}" dt="2018-05-06T00:40:14.504" v="772" actId="478"/>
          <ac:spMkLst>
            <pc:docMk/>
            <pc:sldMk cId="875560910" sldId="331"/>
            <ac:spMk id="3" creationId="{7F802E50-E7FC-485B-AC8B-0DF920282904}"/>
          </ac:spMkLst>
        </pc:spChg>
        <pc:picChg chg="add mod">
          <ac:chgData name="Sandeep Reddy Hanumaihgari" userId="86a9f56c-2e65-4a80-9d64-63b9c07412a6" providerId="ADAL" clId="{0B869DD8-C325-4F0E-8DF6-71CF3DA64C21}" dt="2018-05-06T00:40:22.265" v="775" actId="1076"/>
          <ac:picMkLst>
            <pc:docMk/>
            <pc:sldMk cId="875560910" sldId="331"/>
            <ac:picMk id="4" creationId="{C11E083C-3990-478D-8E5A-3D565E6E8328}"/>
          </ac:picMkLst>
        </pc:picChg>
      </pc:sldChg>
      <pc:sldChg chg="add del">
        <pc:chgData name="Sandeep Reddy Hanumaihgari" userId="86a9f56c-2e65-4a80-9d64-63b9c07412a6" providerId="ADAL" clId="{0B869DD8-C325-4F0E-8DF6-71CF3DA64C21}" dt="2018-05-06T00:36:32.443" v="754" actId="2696"/>
        <pc:sldMkLst>
          <pc:docMk/>
          <pc:sldMk cId="2240878239" sldId="331"/>
        </pc:sldMkLst>
      </pc:sldChg>
      <pc:sldChg chg="addSp delSp modSp add">
        <pc:chgData name="Sandeep Reddy Hanumaihgari" userId="86a9f56c-2e65-4a80-9d64-63b9c07412a6" providerId="ADAL" clId="{0B869DD8-C325-4F0E-8DF6-71CF3DA64C21}" dt="2018-05-06T00:44:32.069" v="934" actId="1076"/>
        <pc:sldMkLst>
          <pc:docMk/>
          <pc:sldMk cId="4279613950" sldId="332"/>
        </pc:sldMkLst>
        <pc:spChg chg="mod">
          <ac:chgData name="Sandeep Reddy Hanumaihgari" userId="86a9f56c-2e65-4a80-9d64-63b9c07412a6" providerId="ADAL" clId="{0B869DD8-C325-4F0E-8DF6-71CF3DA64C21}" dt="2018-05-06T00:43:49.844" v="927" actId="20577"/>
          <ac:spMkLst>
            <pc:docMk/>
            <pc:sldMk cId="4279613950" sldId="332"/>
            <ac:spMk id="2" creationId="{184D7B48-7CC8-40EC-A484-B071C01BD54E}"/>
          </ac:spMkLst>
        </pc:spChg>
        <pc:spChg chg="del">
          <ac:chgData name="Sandeep Reddy Hanumaihgari" userId="86a9f56c-2e65-4a80-9d64-63b9c07412a6" providerId="ADAL" clId="{0B869DD8-C325-4F0E-8DF6-71CF3DA64C21}" dt="2018-05-06T00:43:52.707" v="928" actId="478"/>
          <ac:spMkLst>
            <pc:docMk/>
            <pc:sldMk cId="4279613950" sldId="332"/>
            <ac:spMk id="3" creationId="{0E7C9C74-F2D8-4630-A65A-EC1D2A0EDDAE}"/>
          </ac:spMkLst>
        </pc:spChg>
        <pc:picChg chg="add del mod">
          <ac:chgData name="Sandeep Reddy Hanumaihgari" userId="86a9f56c-2e65-4a80-9d64-63b9c07412a6" providerId="ADAL" clId="{0B869DD8-C325-4F0E-8DF6-71CF3DA64C21}" dt="2018-05-06T00:43:58.711" v="932" actId="478"/>
          <ac:picMkLst>
            <pc:docMk/>
            <pc:sldMk cId="4279613950" sldId="332"/>
            <ac:picMk id="4" creationId="{212C9D24-F5FF-404B-9CA8-FDE222BE8514}"/>
          </ac:picMkLst>
        </pc:picChg>
        <pc:picChg chg="add mod">
          <ac:chgData name="Sandeep Reddy Hanumaihgari" userId="86a9f56c-2e65-4a80-9d64-63b9c07412a6" providerId="ADAL" clId="{0B869DD8-C325-4F0E-8DF6-71CF3DA64C21}" dt="2018-05-06T00:44:32.069" v="934" actId="1076"/>
          <ac:picMkLst>
            <pc:docMk/>
            <pc:sldMk cId="4279613950" sldId="332"/>
            <ac:picMk id="5" creationId="{6C3D5C72-D4CA-4087-851D-FD83A2AEE94F}"/>
          </ac:picMkLst>
        </pc:picChg>
      </pc:sldChg>
      <pc:sldChg chg="addSp delSp modSp add">
        <pc:chgData name="Sandeep Reddy Hanumaihgari" userId="86a9f56c-2e65-4a80-9d64-63b9c07412a6" providerId="ADAL" clId="{0B869DD8-C325-4F0E-8DF6-71CF3DA64C21}" dt="2018-05-06T00:45:33.814" v="970" actId="1076"/>
        <pc:sldMkLst>
          <pc:docMk/>
          <pc:sldMk cId="1912879174" sldId="333"/>
        </pc:sldMkLst>
        <pc:spChg chg="mod">
          <ac:chgData name="Sandeep Reddy Hanumaihgari" userId="86a9f56c-2e65-4a80-9d64-63b9c07412a6" providerId="ADAL" clId="{0B869DD8-C325-4F0E-8DF6-71CF3DA64C21}" dt="2018-05-06T00:44:53.329" v="965" actId="20577"/>
          <ac:spMkLst>
            <pc:docMk/>
            <pc:sldMk cId="1912879174" sldId="333"/>
            <ac:spMk id="2" creationId="{48DD2841-D2BC-45E3-93C9-864429B10DF7}"/>
          </ac:spMkLst>
        </pc:spChg>
        <pc:spChg chg="del">
          <ac:chgData name="Sandeep Reddy Hanumaihgari" userId="86a9f56c-2e65-4a80-9d64-63b9c07412a6" providerId="ADAL" clId="{0B869DD8-C325-4F0E-8DF6-71CF3DA64C21}" dt="2018-05-06T00:45:25.849" v="966" actId="478"/>
          <ac:spMkLst>
            <pc:docMk/>
            <pc:sldMk cId="1912879174" sldId="333"/>
            <ac:spMk id="3" creationId="{831D5175-9604-4A41-A791-94CA402945C5}"/>
          </ac:spMkLst>
        </pc:spChg>
        <pc:picChg chg="add mod">
          <ac:chgData name="Sandeep Reddy Hanumaihgari" userId="86a9f56c-2e65-4a80-9d64-63b9c07412a6" providerId="ADAL" clId="{0B869DD8-C325-4F0E-8DF6-71CF3DA64C21}" dt="2018-05-06T00:45:33.814" v="970" actId="1076"/>
          <ac:picMkLst>
            <pc:docMk/>
            <pc:sldMk cId="1912879174" sldId="333"/>
            <ac:picMk id="4" creationId="{7CB6BDEE-6950-4BF2-8FA7-9883FFDF92B0}"/>
          </ac:picMkLst>
        </pc:picChg>
      </pc:sldChg>
      <pc:sldChg chg="addSp delSp modSp add">
        <pc:chgData name="Sandeep Reddy Hanumaihgari" userId="86a9f56c-2e65-4a80-9d64-63b9c07412a6" providerId="ADAL" clId="{0B869DD8-C325-4F0E-8DF6-71CF3DA64C21}" dt="2018-05-06T00:46:24.922" v="1011" actId="1076"/>
        <pc:sldMkLst>
          <pc:docMk/>
          <pc:sldMk cId="774802547" sldId="334"/>
        </pc:sldMkLst>
        <pc:spChg chg="mod">
          <ac:chgData name="Sandeep Reddy Hanumaihgari" userId="86a9f56c-2e65-4a80-9d64-63b9c07412a6" providerId="ADAL" clId="{0B869DD8-C325-4F0E-8DF6-71CF3DA64C21}" dt="2018-05-06T00:45:59.375" v="1008" actId="20577"/>
          <ac:spMkLst>
            <pc:docMk/>
            <pc:sldMk cId="774802547" sldId="334"/>
            <ac:spMk id="2" creationId="{74EC7D8B-D309-4106-8DBB-DDFA94C5F1C8}"/>
          </ac:spMkLst>
        </pc:spChg>
        <pc:spChg chg="del">
          <ac:chgData name="Sandeep Reddy Hanumaihgari" userId="86a9f56c-2e65-4a80-9d64-63b9c07412a6" providerId="ADAL" clId="{0B869DD8-C325-4F0E-8DF6-71CF3DA64C21}" dt="2018-05-06T00:46:20.792" v="1009" actId="1076"/>
          <ac:spMkLst>
            <pc:docMk/>
            <pc:sldMk cId="774802547" sldId="334"/>
            <ac:spMk id="3" creationId="{14EF7373-A48B-41D5-9E1F-E80ED1B51F2D}"/>
          </ac:spMkLst>
        </pc:spChg>
        <pc:picChg chg="add mod">
          <ac:chgData name="Sandeep Reddy Hanumaihgari" userId="86a9f56c-2e65-4a80-9d64-63b9c07412a6" providerId="ADAL" clId="{0B869DD8-C325-4F0E-8DF6-71CF3DA64C21}" dt="2018-05-06T00:46:24.922" v="1011" actId="1076"/>
          <ac:picMkLst>
            <pc:docMk/>
            <pc:sldMk cId="774802547" sldId="334"/>
            <ac:picMk id="4" creationId="{7AB365DC-44C0-4565-BC49-21BCBA9FF634}"/>
          </ac:picMkLst>
        </pc:picChg>
      </pc:sldChg>
      <pc:sldChg chg="addSp delSp modSp add">
        <pc:chgData name="Sandeep Reddy Hanumaihgari" userId="86a9f56c-2e65-4a80-9d64-63b9c07412a6" providerId="ADAL" clId="{0B869DD8-C325-4F0E-8DF6-71CF3DA64C21}" dt="2018-05-06T00:47:09.976" v="1032" actId="1076"/>
        <pc:sldMkLst>
          <pc:docMk/>
          <pc:sldMk cId="1648305775" sldId="335"/>
        </pc:sldMkLst>
        <pc:spChg chg="mod">
          <ac:chgData name="Sandeep Reddy Hanumaihgari" userId="86a9f56c-2e65-4a80-9d64-63b9c07412a6" providerId="ADAL" clId="{0B869DD8-C325-4F0E-8DF6-71CF3DA64C21}" dt="2018-05-06T00:46:52.207" v="1031" actId="20577"/>
          <ac:spMkLst>
            <pc:docMk/>
            <pc:sldMk cId="1648305775" sldId="335"/>
            <ac:spMk id="2" creationId="{DD275C8C-9482-45C4-ACFB-142A2F94CCD5}"/>
          </ac:spMkLst>
        </pc:spChg>
        <pc:spChg chg="del">
          <ac:chgData name="Sandeep Reddy Hanumaihgari" userId="86a9f56c-2e65-4a80-9d64-63b9c07412a6" providerId="ADAL" clId="{0B869DD8-C325-4F0E-8DF6-71CF3DA64C21}" dt="2018-05-06T00:47:09.976" v="1032" actId="1076"/>
          <ac:spMkLst>
            <pc:docMk/>
            <pc:sldMk cId="1648305775" sldId="335"/>
            <ac:spMk id="3" creationId="{872FBF62-2901-4C1C-B2C3-48F96DF170AE}"/>
          </ac:spMkLst>
        </pc:spChg>
        <pc:picChg chg="add mod">
          <ac:chgData name="Sandeep Reddy Hanumaihgari" userId="86a9f56c-2e65-4a80-9d64-63b9c07412a6" providerId="ADAL" clId="{0B869DD8-C325-4F0E-8DF6-71CF3DA64C21}" dt="2018-05-06T00:47:09.976" v="1032" actId="1076"/>
          <ac:picMkLst>
            <pc:docMk/>
            <pc:sldMk cId="1648305775" sldId="335"/>
            <ac:picMk id="4" creationId="{20B63F16-BCB1-43E0-913F-7307B1030FF3}"/>
          </ac:picMkLst>
        </pc:picChg>
      </pc:sldChg>
      <pc:sldChg chg="addSp delSp modSp add ord">
        <pc:chgData name="Sandeep Reddy Hanumaihgari" userId="86a9f56c-2e65-4a80-9d64-63b9c07412a6" providerId="ADAL" clId="{0B869DD8-C325-4F0E-8DF6-71CF3DA64C21}" dt="2018-05-06T00:51:26.798" v="1089" actId="1076"/>
        <pc:sldMkLst>
          <pc:docMk/>
          <pc:sldMk cId="1311948331" sldId="336"/>
        </pc:sldMkLst>
        <pc:spChg chg="mod">
          <ac:chgData name="Sandeep Reddy Hanumaihgari" userId="86a9f56c-2e65-4a80-9d64-63b9c07412a6" providerId="ADAL" clId="{0B869DD8-C325-4F0E-8DF6-71CF3DA64C21}" dt="2018-05-06T00:48:31.163" v="1070" actId="20577"/>
          <ac:spMkLst>
            <pc:docMk/>
            <pc:sldMk cId="1311948331" sldId="336"/>
            <ac:spMk id="2" creationId="{1F05E076-E46A-43B5-BD6C-F676C3D95420}"/>
          </ac:spMkLst>
        </pc:spChg>
        <pc:spChg chg="del">
          <ac:chgData name="Sandeep Reddy Hanumaihgari" userId="86a9f56c-2e65-4a80-9d64-63b9c07412a6" providerId="ADAL" clId="{0B869DD8-C325-4F0E-8DF6-71CF3DA64C21}" dt="2018-05-06T00:48:33.488" v="1071" actId="478"/>
          <ac:spMkLst>
            <pc:docMk/>
            <pc:sldMk cId="1311948331" sldId="336"/>
            <ac:spMk id="3" creationId="{F874E8F0-04FB-423C-BE3E-F0EEE26F4E80}"/>
          </ac:spMkLst>
        </pc:spChg>
        <pc:picChg chg="add mod">
          <ac:chgData name="Sandeep Reddy Hanumaihgari" userId="86a9f56c-2e65-4a80-9d64-63b9c07412a6" providerId="ADAL" clId="{0B869DD8-C325-4F0E-8DF6-71CF3DA64C21}" dt="2018-05-06T00:50:56.913" v="1088" actId="1076"/>
          <ac:picMkLst>
            <pc:docMk/>
            <pc:sldMk cId="1311948331" sldId="336"/>
            <ac:picMk id="4" creationId="{2D4F4D7C-F95F-4196-B974-D27461241710}"/>
          </ac:picMkLst>
        </pc:picChg>
        <pc:picChg chg="add del mod">
          <ac:chgData name="Sandeep Reddy Hanumaihgari" userId="86a9f56c-2e65-4a80-9d64-63b9c07412a6" providerId="ADAL" clId="{0B869DD8-C325-4F0E-8DF6-71CF3DA64C21}" dt="2018-05-06T00:50:16.276" v="1083" actId="478"/>
          <ac:picMkLst>
            <pc:docMk/>
            <pc:sldMk cId="1311948331" sldId="336"/>
            <ac:picMk id="5" creationId="{8B069B56-2464-43C4-9A16-22628EFEA5D7}"/>
          </ac:picMkLst>
        </pc:picChg>
        <pc:picChg chg="add del mod">
          <ac:chgData name="Sandeep Reddy Hanumaihgari" userId="86a9f56c-2e65-4a80-9d64-63b9c07412a6" providerId="ADAL" clId="{0B869DD8-C325-4F0E-8DF6-71CF3DA64C21}" dt="2018-05-06T00:50:47.057" v="1086" actId="478"/>
          <ac:picMkLst>
            <pc:docMk/>
            <pc:sldMk cId="1311948331" sldId="336"/>
            <ac:picMk id="6" creationId="{922BC872-39E6-4414-8E56-795D83FD43C1}"/>
          </ac:picMkLst>
        </pc:picChg>
      </pc:sldChg>
      <pc:sldChg chg="addSp delSp modSp add">
        <pc:chgData name="Sandeep Reddy Hanumaihgari" userId="86a9f56c-2e65-4a80-9d64-63b9c07412a6" providerId="ADAL" clId="{0B869DD8-C325-4F0E-8DF6-71CF3DA64C21}" dt="2018-05-06T00:54:06.735" v="1114" actId="1076"/>
        <pc:sldMkLst>
          <pc:docMk/>
          <pc:sldMk cId="558069518" sldId="337"/>
        </pc:sldMkLst>
        <pc:spChg chg="mod">
          <ac:chgData name="Sandeep Reddy Hanumaihgari" userId="86a9f56c-2e65-4a80-9d64-63b9c07412a6" providerId="ADAL" clId="{0B869DD8-C325-4F0E-8DF6-71CF3DA64C21}" dt="2018-05-06T00:52:30.169" v="1110" actId="20577"/>
          <ac:spMkLst>
            <pc:docMk/>
            <pc:sldMk cId="558069518" sldId="337"/>
            <ac:spMk id="2" creationId="{A806CA43-70BB-46B6-8A88-E30DFA144DCB}"/>
          </ac:spMkLst>
        </pc:spChg>
        <pc:spChg chg="del">
          <ac:chgData name="Sandeep Reddy Hanumaihgari" userId="86a9f56c-2e65-4a80-9d64-63b9c07412a6" providerId="ADAL" clId="{0B869DD8-C325-4F0E-8DF6-71CF3DA64C21}" dt="2018-05-06T00:53:31.763" v="1111" actId="1076"/>
          <ac:spMkLst>
            <pc:docMk/>
            <pc:sldMk cId="558069518" sldId="337"/>
            <ac:spMk id="3" creationId="{74B00B47-52DC-4C63-9C96-413A75134F7F}"/>
          </ac:spMkLst>
        </pc:spChg>
        <pc:picChg chg="add mod">
          <ac:chgData name="Sandeep Reddy Hanumaihgari" userId="86a9f56c-2e65-4a80-9d64-63b9c07412a6" providerId="ADAL" clId="{0B869DD8-C325-4F0E-8DF6-71CF3DA64C21}" dt="2018-05-06T00:53:34.956" v="1112" actId="1076"/>
          <ac:picMkLst>
            <pc:docMk/>
            <pc:sldMk cId="558069518" sldId="337"/>
            <ac:picMk id="4" creationId="{FC9520F9-EFB1-4751-952B-F973E9B6C1D1}"/>
          </ac:picMkLst>
        </pc:picChg>
        <pc:picChg chg="add mod">
          <ac:chgData name="Sandeep Reddy Hanumaihgari" userId="86a9f56c-2e65-4a80-9d64-63b9c07412a6" providerId="ADAL" clId="{0B869DD8-C325-4F0E-8DF6-71CF3DA64C21}" dt="2018-05-06T00:54:06.735" v="1114" actId="1076"/>
          <ac:picMkLst>
            <pc:docMk/>
            <pc:sldMk cId="558069518" sldId="337"/>
            <ac:picMk id="5" creationId="{C596C3D8-C134-405E-9E8E-58EC97CAA033}"/>
          </ac:picMkLst>
        </pc:picChg>
      </pc:sldChg>
      <pc:sldChg chg="addSp delSp modSp add">
        <pc:chgData name="Sandeep Reddy Hanumaihgari" userId="86a9f56c-2e65-4a80-9d64-63b9c07412a6" providerId="ADAL" clId="{0B869DD8-C325-4F0E-8DF6-71CF3DA64C21}" dt="2018-05-06T01:02:06.481" v="1163" actId="1076"/>
        <pc:sldMkLst>
          <pc:docMk/>
          <pc:sldMk cId="3017226878" sldId="338"/>
        </pc:sldMkLst>
        <pc:spChg chg="mod">
          <ac:chgData name="Sandeep Reddy Hanumaihgari" userId="86a9f56c-2e65-4a80-9d64-63b9c07412a6" providerId="ADAL" clId="{0B869DD8-C325-4F0E-8DF6-71CF3DA64C21}" dt="2018-05-06T00:55:38.652" v="1151" actId="20577"/>
          <ac:spMkLst>
            <pc:docMk/>
            <pc:sldMk cId="3017226878" sldId="338"/>
            <ac:spMk id="2" creationId="{D4FD7463-3393-4542-81ED-67D1C8AD1C0E}"/>
          </ac:spMkLst>
        </pc:spChg>
        <pc:spChg chg="del">
          <ac:chgData name="Sandeep Reddy Hanumaihgari" userId="86a9f56c-2e65-4a80-9d64-63b9c07412a6" providerId="ADAL" clId="{0B869DD8-C325-4F0E-8DF6-71CF3DA64C21}" dt="2018-05-06T00:56:05.921" v="1152" actId="1076"/>
          <ac:spMkLst>
            <pc:docMk/>
            <pc:sldMk cId="3017226878" sldId="338"/>
            <ac:spMk id="3" creationId="{2BF7763D-1BB8-468B-91CA-1D28DE66516F}"/>
          </ac:spMkLst>
        </pc:spChg>
        <pc:picChg chg="add mod">
          <ac:chgData name="Sandeep Reddy Hanumaihgari" userId="86a9f56c-2e65-4a80-9d64-63b9c07412a6" providerId="ADAL" clId="{0B869DD8-C325-4F0E-8DF6-71CF3DA64C21}" dt="2018-05-06T01:02:02.429" v="1162" actId="14100"/>
          <ac:picMkLst>
            <pc:docMk/>
            <pc:sldMk cId="3017226878" sldId="338"/>
            <ac:picMk id="4" creationId="{9ACB0BB7-59AB-42F1-AD99-6F0FAB49DBB7}"/>
          </ac:picMkLst>
        </pc:picChg>
        <pc:picChg chg="add mod">
          <ac:chgData name="Sandeep Reddy Hanumaihgari" userId="86a9f56c-2e65-4a80-9d64-63b9c07412a6" providerId="ADAL" clId="{0B869DD8-C325-4F0E-8DF6-71CF3DA64C21}" dt="2018-05-06T01:02:06.481" v="1163" actId="1076"/>
          <ac:picMkLst>
            <pc:docMk/>
            <pc:sldMk cId="3017226878" sldId="338"/>
            <ac:picMk id="5" creationId="{020357B8-73CF-4557-B203-0C036CFF6BDD}"/>
          </ac:picMkLst>
        </pc:picChg>
      </pc:sldChg>
      <pc:sldChg chg="addSp delSp modSp add">
        <pc:chgData name="Sandeep Reddy Hanumaihgari" userId="86a9f56c-2e65-4a80-9d64-63b9c07412a6" providerId="ADAL" clId="{0B869DD8-C325-4F0E-8DF6-71CF3DA64C21}" dt="2018-05-06T01:03:17.788" v="1200" actId="1076"/>
        <pc:sldMkLst>
          <pc:docMk/>
          <pc:sldMk cId="4147694619" sldId="339"/>
        </pc:sldMkLst>
        <pc:spChg chg="mod">
          <ac:chgData name="Sandeep Reddy Hanumaihgari" userId="86a9f56c-2e65-4a80-9d64-63b9c07412a6" providerId="ADAL" clId="{0B869DD8-C325-4F0E-8DF6-71CF3DA64C21}" dt="2018-05-06T01:02:48.421" v="1198" actId="20577"/>
          <ac:spMkLst>
            <pc:docMk/>
            <pc:sldMk cId="4147694619" sldId="339"/>
            <ac:spMk id="2" creationId="{936618BB-9E81-47BB-8A99-F123AFE811E0}"/>
          </ac:spMkLst>
        </pc:spChg>
        <pc:spChg chg="del">
          <ac:chgData name="Sandeep Reddy Hanumaihgari" userId="86a9f56c-2e65-4a80-9d64-63b9c07412a6" providerId="ADAL" clId="{0B869DD8-C325-4F0E-8DF6-71CF3DA64C21}" dt="2018-05-06T01:03:16.119" v="1199" actId="1076"/>
          <ac:spMkLst>
            <pc:docMk/>
            <pc:sldMk cId="4147694619" sldId="339"/>
            <ac:spMk id="3" creationId="{42C77EED-6405-4613-BD36-4466F85FFC5B}"/>
          </ac:spMkLst>
        </pc:spChg>
        <pc:picChg chg="add mod">
          <ac:chgData name="Sandeep Reddy Hanumaihgari" userId="86a9f56c-2e65-4a80-9d64-63b9c07412a6" providerId="ADAL" clId="{0B869DD8-C325-4F0E-8DF6-71CF3DA64C21}" dt="2018-05-06T01:03:17.788" v="1200" actId="1076"/>
          <ac:picMkLst>
            <pc:docMk/>
            <pc:sldMk cId="4147694619" sldId="339"/>
            <ac:picMk id="4" creationId="{0526ACD6-34B9-4F4E-BFA3-D94BF4E9BC14}"/>
          </ac:picMkLst>
        </pc:picChg>
      </pc:sldChg>
    </pc:docChg>
  </pc:docChgLst>
  <pc:docChgLst>
    <pc:chgData name="Sandeep Reddy Hanumaihgari" userId="86a9f56c-2e65-4a80-9d64-63b9c07412a6" providerId="ADAL" clId="{71B50FF3-AB2A-448E-9D5A-19D618C94357}"/>
  </pc:docChgLst>
  <pc:docChgLst>
    <pc:chgData name="Sandeep Reddy Hanumaihgari" userId="86a9f56c-2e65-4a80-9d64-63b9c07412a6" providerId="ADAL" clId="{59ED3D85-4EFF-49E2-B12F-FC8A6D10393E}"/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79A268-BC20-4C4B-AD49-13C7E7892CCC}" type="datetimeFigureOut">
              <a:rPr lang="en-US" smtClean="0"/>
              <a:t>6/26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B614D3-19B3-4C34-9035-E38A193485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541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4"/>
            <a:ext cx="2971800" cy="457200"/>
          </a:xfrm>
          <a:prstGeom prst="rect">
            <a:avLst/>
          </a:prstGeom>
        </p:spPr>
        <p:txBody>
          <a:bodyPr/>
          <a:lstStyle/>
          <a:p>
            <a:fld id="{269BF997-9B5F-4A82-AF31-6E87F25749BF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53609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763B73-1F3F-48A1-868B-556C9EBE01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41542A6-BC5D-406C-BE1E-844BBBE4D4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6E802A-AAAE-4137-A3EC-78A795EA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6/26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E810E1-EA93-4156-9E4F-516D85C617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418669-54D8-4FA7-AC03-4711395A82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1109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A80569-26CD-4E48-AB8F-C8D393C56B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EDBDF74-D7DD-4F74-8204-768D6D8C87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EE0E80-DE55-4227-8F22-8B46CC3313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6/26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1D90D3-5DB1-4E46-965A-43DE2A1ADA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7E9E31-07F6-4BA3-89E4-4406CB6F4A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2083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6FB4F80-033E-40D6-8EB5-E065B968872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B3FA981-8292-42BE-B5C1-A1E25890D7F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2BE0CF-2BE4-4B92-BEC3-5CF0BDF969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6/26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738A02-307F-4A5A-BA7D-F53437CEEE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4FE8E8-723C-4492-8FB7-5544427AE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5675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text only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7705" y="1604798"/>
            <a:ext cx="11079128" cy="147002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4000" b="1" baseline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3908" y="3094328"/>
            <a:ext cx="11082925" cy="1486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3700" b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Click to edit the sub title</a:t>
            </a:r>
          </a:p>
        </p:txBody>
      </p:sp>
      <p:sp>
        <p:nvSpPr>
          <p:cNvPr id="10" name="AddClassification"/>
          <p:cNvSpPr txBox="1">
            <a:spLocks noChangeArrowheads="1"/>
          </p:cNvSpPr>
          <p:nvPr userDrawn="1"/>
        </p:nvSpPr>
        <p:spPr bwMode="auto">
          <a:xfrm>
            <a:off x="5082424" y="6195793"/>
            <a:ext cx="2027152" cy="292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8" rIns="121917" bIns="60958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algn="ctr" defTabSz="1219170"/>
            <a:r>
              <a:rPr lang="en-US" sz="110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© Atos - For internal use</a:t>
            </a:r>
            <a:endParaRPr lang="en-US" sz="110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70021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xt only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28000" y="1396812"/>
            <a:ext cx="6600000" cy="1470025"/>
          </a:xfrm>
        </p:spPr>
        <p:txBody>
          <a:bodyPr anchor="t" anchorCtr="0">
            <a:noAutofit/>
          </a:bodyPr>
          <a:lstStyle>
            <a:lvl1pPr>
              <a:defRPr sz="4100" b="1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28000" y="2955600"/>
            <a:ext cx="6600000" cy="1486800"/>
          </a:xfrm>
        </p:spPr>
        <p:txBody>
          <a:bodyPr>
            <a:noAutofit/>
          </a:bodyPr>
          <a:lstStyle>
            <a:lvl1pPr marL="0" indent="0" algn="l">
              <a:buNone/>
              <a:defRPr sz="2700" b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6094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nl-NL" dirty="0"/>
          </a:p>
        </p:txBody>
      </p:sp>
      <p:sp>
        <p:nvSpPr>
          <p:cNvPr id="8" name="AddCustomDate#1"/>
          <p:cNvSpPr txBox="1"/>
          <p:nvPr userDrawn="1"/>
        </p:nvSpPr>
        <p:spPr>
          <a:xfrm>
            <a:off x="5313315" y="4653139"/>
            <a:ext cx="1571628" cy="369332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defTabSz="1218930"/>
            <a:r>
              <a:rPr lang="nl-NL" sz="1600" dirty="0" err="1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dd</a:t>
            </a:r>
            <a:r>
              <a:rPr lang="nl-NL" sz="1600" dirty="0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-mm-</a:t>
            </a:r>
            <a:r>
              <a:rPr lang="nl-NL" sz="1600" dirty="0" err="1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yyyy</a:t>
            </a:r>
            <a:endParaRPr lang="nl-NL" sz="1600" dirty="0">
              <a:solidFill>
                <a:prstClr val="black"/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0137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asic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17389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No 2nd top lin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00" y="378000"/>
            <a:ext cx="11655040" cy="75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7200" y="1124744"/>
            <a:ext cx="11664000" cy="49628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293012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43125" y="1124744"/>
            <a:ext cx="6312000" cy="1245600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NL" dirty="0"/>
          </a:p>
        </p:txBody>
      </p:sp>
      <p:sp>
        <p:nvSpPr>
          <p:cNvPr id="12" name="AddNotifier#1"/>
          <p:cNvSpPr txBox="1">
            <a:spLocks noChangeArrowheads="1"/>
          </p:cNvSpPr>
          <p:nvPr userDrawn="1"/>
        </p:nvSpPr>
        <p:spPr bwMode="auto">
          <a:xfrm>
            <a:off x="2918917" y="3166337"/>
            <a:ext cx="6312000" cy="148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96" tIns="60948" rIns="121896" bIns="60948"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defTabSz="1218930"/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tos, the Atos logo, Atos Consulting, Atos </a:t>
            </a:r>
            <a:r>
              <a:rPr lang="en-US" sz="1300" dirty="0" err="1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orldgrid</a:t>
            </a:r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sz="1300" dirty="0" err="1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orldline</a:t>
            </a:r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sz="1300" dirty="0" err="1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BlueKiwi</a:t>
            </a:r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Bull, Canopy the Open Cloud Company, </a:t>
            </a:r>
            <a:r>
              <a:rPr lang="en-US" sz="1300" dirty="0" err="1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Yunano</a:t>
            </a:r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Zero Email, Zero Email Certified and The Zero Email Company are registered trademarks of the Atos group. May 2015. © 2015 Atos. Confidential information owned by Atos, to be used by the recipient only. This document, or any part of it, may not be reproduced, copied, circulated and/or distributed nor quoted without prior written approval from Atos.</a:t>
            </a:r>
          </a:p>
        </p:txBody>
      </p:sp>
      <p:sp>
        <p:nvSpPr>
          <p:cNvPr id="7" name="AddCustomDate#1"/>
          <p:cNvSpPr txBox="1"/>
          <p:nvPr userDrawn="1"/>
        </p:nvSpPr>
        <p:spPr>
          <a:xfrm>
            <a:off x="5313315" y="4653139"/>
            <a:ext cx="1571628" cy="369332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defTabSz="1218930"/>
            <a:r>
              <a:rPr lang="nl-NL" sz="1600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dd-mm-yyyy</a:t>
            </a:r>
            <a:endParaRPr lang="nl-NL" sz="1600" dirty="0">
              <a:solidFill>
                <a:prstClr val="black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AddClassification"/>
          <p:cNvSpPr txBox="1">
            <a:spLocks noChangeArrowheads="1"/>
          </p:cNvSpPr>
          <p:nvPr userDrawn="1"/>
        </p:nvSpPr>
        <p:spPr bwMode="auto">
          <a:xfrm>
            <a:off x="4870315" y="6386411"/>
            <a:ext cx="2409208" cy="3282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896" tIns="60948" rIns="121896" bIns="60948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algn="ctr" defTabSz="1218930"/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© Atos - 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4252128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94F4AC-E648-434F-BEDB-346C6DBF95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312F3D-B04D-4F29-80F1-0837DC278F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58322C-9794-48D1-A122-5BFD30DD0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6/26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ECFE6F-FAAA-4B59-BBF9-67A1175590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3FF35E-BA32-4430-8147-FABE21F0D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12758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A721F-979D-4E0A-969B-7BB719E37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0F2DCB-7440-4EFE-84FD-C5B145200C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9ACA7C-2459-464A-91EB-8BD8D435E8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6/26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82BCB3-0A02-4EF7-B31F-717F562087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DA4E46-7117-4D66-868F-0C98B7A07A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3258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F3B745-55E6-46E8-A9C1-1D98F55C41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B1F58C-8AE0-467A-998D-E3674FEEACF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A0C3FB9-B5F5-4E9A-A17A-B5D6D4D932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B147810-B2A7-4D3B-A423-C016E19B14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6/26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F82A90-1D5F-4C48-B548-158C650F01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D40744-9B09-41CF-8B15-03637B1E30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4510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D97563-4482-4574-830B-35EECC306B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D71EB2-9F73-4E58-9B70-1E050A354E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1C5A2C-F538-4D22-98A9-44D27C3692C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BE44E8-930C-40B0-835A-0A5C05D1F3C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C8BB31-4C2B-4D50-8EB0-CF37B702BBF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CF99087-D002-4FE9-B555-9E2DC5690E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6/26/20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5234BA-58AC-4B2A-810E-78129A0FA6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CC9DCA1-C6F2-4CF8-AD8A-7151584BD2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97201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021152-6F5D-4953-9548-73735ECF32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0916F0-D4AD-4E4E-B6B4-3A6A6BAC65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6/26/20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9D95BE9-D92C-4FE0-AFA4-E1A698F150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98B18E-5C3A-48C0-96B0-9B54BCBC72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29582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25E6C72-7166-4CA2-BC9E-C452D7AB67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6/26/20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2E8DAF-2365-48A4-8150-C5BCAF10CA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2120AC-937E-4B78-B520-3A8707C5B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9837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E3DD97-A677-45A3-AD27-50F3B76866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C9FAE0-B897-45AD-B735-9875E0B572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5F4331-14A5-4906-B535-11DFC7BB871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15BE19-62C1-4201-BE5A-06A040EF43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6/26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D9B403-FD2B-4AAB-A35A-3D5E1168B6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61C00C-92D0-4167-83E0-D6C9628726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19987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59E95F-F2A1-41BB-8B65-1CBC83EF7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300368E-6900-484E-8EE4-2022CE8B6FC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C11AFA-F4D4-4382-89A4-1033B937746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A79854-9770-4B55-9842-F704E5A95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6/26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6E9529-00BE-434D-88DD-255B69E736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CC066D-5495-4B44-B716-BD7D06054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37475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53447FF-3495-4E79-BFE3-BFEE93C4F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63DAE0-3EFD-48A2-9700-FE7CE93A83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5952D2-743E-4B8A-A3A7-F3C054AA24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3C3202-D806-4596-B738-5EFF906A959D}" type="datetimeFigureOut">
              <a:rPr lang="en-US" smtClean="0"/>
              <a:t>6/26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14BA33-A220-4C6F-97D3-EC5A351B95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FC0680-4F5F-4D3E-8B9C-72D97FCC6A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0221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AddCustomFooter#1"/>
          <p:cNvSpPr txBox="1"/>
          <p:nvPr/>
        </p:nvSpPr>
        <p:spPr>
          <a:xfrm>
            <a:off x="254403" y="6259454"/>
            <a:ext cx="2088024" cy="323141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defTabSz="1218930"/>
            <a:r>
              <a:rPr lang="en-US" sz="1300" dirty="0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© Atos - Confidentia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1600" y="312000"/>
            <a:ext cx="11664000" cy="756000"/>
          </a:xfrm>
          <a:prstGeom prst="rect">
            <a:avLst/>
          </a:prstGeom>
        </p:spPr>
        <p:txBody>
          <a:bodyPr vert="horz" lIns="121896" tIns="60948" rIns="121896" bIns="60948" rtlCol="0" anchor="t" anchorCtr="0">
            <a:noAutofit/>
          </a:bodyPr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7200" y="1454400"/>
            <a:ext cx="11664000" cy="4633200"/>
          </a:xfrm>
          <a:prstGeom prst="rect">
            <a:avLst/>
          </a:prstGeom>
        </p:spPr>
        <p:txBody>
          <a:bodyPr vert="horz" lIns="121896" tIns="60948" rIns="121896" bIns="60948" rtlCol="0"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2085894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8930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359926" indent="-359926" algn="l" defTabSz="1218930" rtl="0" eaLnBrk="1" latinLnBrk="0" hangingPunct="1">
        <a:spcBef>
          <a:spcPct val="20000"/>
        </a:spcBef>
        <a:buClr>
          <a:schemeClr val="tx2"/>
        </a:buClr>
        <a:buFont typeface="Lucida Sans Unicode" pitchFamily="34" charset="0"/>
        <a:buChar char="▶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19839" indent="-359926" algn="l" defTabSz="1218930" rtl="0" eaLnBrk="1" latinLnBrk="0" hangingPunct="1">
        <a:spcBef>
          <a:spcPts val="512"/>
        </a:spcBef>
        <a:buClr>
          <a:schemeClr val="tx2"/>
        </a:buClr>
        <a:buFont typeface="Arial" pitchFamily="34" charset="0"/>
        <a:buChar char="–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079760" indent="-359926" algn="l" defTabSz="121893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439676" indent="-359926" algn="l" defTabSz="121893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1799602" indent="-359926" algn="l" defTabSz="121893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»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3352044" indent="-304728" algn="l" defTabSz="121893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512" indent="-304728" algn="l" defTabSz="121893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0974" indent="-304728" algn="l" defTabSz="121893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436" indent="-304728" algn="l" defTabSz="121893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59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30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392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858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316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775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240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703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4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4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4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4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4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4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4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4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4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4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br>
              <a:rPr lang="en-US" b="0" dirty="0"/>
            </a:br>
            <a:r>
              <a:rPr lang="en-US" b="0" dirty="0"/>
              <a:t> </a:t>
            </a:r>
            <a:r>
              <a:rPr lang="en-US" sz="3200" dirty="0"/>
              <a:t>SAP HANA 2.0 Database Administration Tasks</a:t>
            </a:r>
          </a:p>
        </p:txBody>
      </p:sp>
    </p:spTree>
    <p:extLst>
      <p:ext uri="{BB962C8B-B14F-4D97-AF65-F5344CB8AC3E}">
        <p14:creationId xmlns:p14="http://schemas.microsoft.com/office/powerpoint/2010/main" val="1475710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A69471-1761-48F7-B4D1-B417237FE8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ing SAP HANA Cockpit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94C7B676-538C-4495-95AD-20243FA6776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26400" y="1446029"/>
            <a:ext cx="6290760" cy="452507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BC2E5A1-E6B4-4F2C-ADE0-03721BC718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70365" y="1275810"/>
            <a:ext cx="5195235" cy="264509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E8C1265-2450-4825-9594-B4FEC1675C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03852" y="4112290"/>
            <a:ext cx="4846663" cy="1966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560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649204-173C-4072-8076-9AFF10FF1C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ing SAP HANA Studio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CBB430D5-8C8A-4BC2-9162-77680AF6783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12010" y="1330473"/>
            <a:ext cx="4659969" cy="320444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3F2A88E-EAC7-4070-8BC8-03362B490D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17063" y="1330473"/>
            <a:ext cx="5662927" cy="306413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54FCADD-2654-4C37-928E-A30F254A1252}"/>
              </a:ext>
            </a:extLst>
          </p:cNvPr>
          <p:cNvSpPr/>
          <p:nvPr/>
        </p:nvSpPr>
        <p:spPr>
          <a:xfrm>
            <a:off x="457200" y="4657083"/>
            <a:ext cx="1145586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400" b="1" dirty="0">
                <a:latin typeface="Arial" panose="020B0604020202020204" pitchFamily="34" charset="0"/>
              </a:rPr>
              <a:t>The configuration files are located in the following directories:</a:t>
            </a:r>
          </a:p>
          <a:p>
            <a:r>
              <a:rPr lang="en-US" sz="1400" dirty="0">
                <a:latin typeface="Courier New" panose="02070309020205020404" pitchFamily="49" charset="0"/>
              </a:rPr>
              <a:t>• /</a:t>
            </a:r>
            <a:r>
              <a:rPr lang="en-US" sz="1400" dirty="0" err="1">
                <a:latin typeface="Courier New" panose="02070309020205020404" pitchFamily="49" charset="0"/>
              </a:rPr>
              <a:t>usr</a:t>
            </a:r>
            <a:r>
              <a:rPr lang="en-US" sz="1400" dirty="0">
                <a:latin typeface="Courier New" panose="02070309020205020404" pitchFamily="49" charset="0"/>
              </a:rPr>
              <a:t>/sap/&lt;</a:t>
            </a:r>
            <a:r>
              <a:rPr lang="en-US" sz="1400" dirty="0" err="1">
                <a:latin typeface="Courier New" panose="02070309020205020404" pitchFamily="49" charset="0"/>
              </a:rPr>
              <a:t>sid</a:t>
            </a:r>
            <a:r>
              <a:rPr lang="en-US" sz="1400" dirty="0">
                <a:latin typeface="Courier New" panose="02070309020205020404" pitchFamily="49" charset="0"/>
              </a:rPr>
              <a:t>&gt;/SYS/global/</a:t>
            </a:r>
            <a:r>
              <a:rPr lang="en-US" sz="1400" dirty="0" err="1">
                <a:latin typeface="Courier New" panose="02070309020205020404" pitchFamily="49" charset="0"/>
              </a:rPr>
              <a:t>hdb</a:t>
            </a:r>
            <a:r>
              <a:rPr lang="en-US" sz="1400" dirty="0">
                <a:latin typeface="Courier New" panose="02070309020205020404" pitchFamily="49" charset="0"/>
              </a:rPr>
              <a:t>/custom/config</a:t>
            </a:r>
          </a:p>
          <a:p>
            <a:r>
              <a:rPr lang="en-IN" sz="1400" dirty="0">
                <a:latin typeface="Courier New" panose="02070309020205020404" pitchFamily="49" charset="0"/>
              </a:rPr>
              <a:t>• /</a:t>
            </a:r>
            <a:r>
              <a:rPr lang="en-IN" sz="1400" dirty="0" err="1">
                <a:latin typeface="Courier New" panose="02070309020205020404" pitchFamily="49" charset="0"/>
              </a:rPr>
              <a:t>usr</a:t>
            </a:r>
            <a:r>
              <a:rPr lang="en-IN" sz="1400" dirty="0">
                <a:latin typeface="Courier New" panose="02070309020205020404" pitchFamily="49" charset="0"/>
              </a:rPr>
              <a:t>/sap/&lt;</a:t>
            </a:r>
            <a:r>
              <a:rPr lang="en-IN" sz="1400" dirty="0" err="1">
                <a:latin typeface="Courier New" panose="02070309020205020404" pitchFamily="49" charset="0"/>
              </a:rPr>
              <a:t>sid</a:t>
            </a:r>
            <a:r>
              <a:rPr lang="en-IN" sz="1400" dirty="0">
                <a:latin typeface="Courier New" panose="02070309020205020404" pitchFamily="49" charset="0"/>
              </a:rPr>
              <a:t>&gt;/HDB/&lt;instance number&gt;/&lt;server name&gt;</a:t>
            </a:r>
          </a:p>
          <a:p>
            <a:endParaRPr lang="en-IN" sz="1400" dirty="0">
              <a:latin typeface="Courier New" panose="02070309020205020404" pitchFamily="49" charset="0"/>
            </a:endParaRPr>
          </a:p>
          <a:p>
            <a:r>
              <a:rPr lang="en-IN" sz="1400" dirty="0"/>
              <a:t>Configuration files (.</a:t>
            </a:r>
            <a:r>
              <a:rPr lang="en-IN" sz="1400" dirty="0" err="1"/>
              <a:t>ini</a:t>
            </a:r>
            <a:r>
              <a:rPr lang="en-IN" sz="1400" dirty="0"/>
              <a:t> files) are only created in the above directories if customer specific changes are made to them after installation. If no customer-specific changes have been made, these directories may be empty.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55164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B686F6-5F36-46D1-989D-2BFB313E22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 Memory Parameter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F1755366-6B9F-460F-AF1E-FE250FDFFC4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637692" y="1613484"/>
            <a:ext cx="6371803" cy="4070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6969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ABE18C-3247-4A93-AB5C-F58485B070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guring Traces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95ECB9A4-F5E6-471F-B8D8-15317D237C5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988935" y="1443518"/>
            <a:ext cx="6089329" cy="4633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0982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0BDF6D-4429-44E9-819F-09DDD7C875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c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8DBDE6B-BD8E-473B-B170-66F827B88A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88178" y="1339703"/>
            <a:ext cx="5275882" cy="478473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1D85E9D-2AC0-4477-BBD7-D4103DF8C785}"/>
              </a:ext>
            </a:extLst>
          </p:cNvPr>
          <p:cNvSpPr txBox="1"/>
          <p:nvPr/>
        </p:nvSpPr>
        <p:spPr>
          <a:xfrm>
            <a:off x="350874" y="1339703"/>
            <a:ext cx="574512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configure trace, system privilege </a:t>
            </a:r>
          </a:p>
          <a:p>
            <a:r>
              <a:rPr lang="en-US" dirty="0"/>
              <a:t>TRACE ADMIN is required.</a:t>
            </a:r>
          </a:p>
          <a:p>
            <a:endParaRPr lang="en-US" dirty="0"/>
          </a:p>
          <a:p>
            <a:r>
              <a:rPr lang="en-US" dirty="0"/>
              <a:t>To configure kernel profiler, standard role </a:t>
            </a:r>
          </a:p>
          <a:p>
            <a:r>
              <a:rPr lang="en-US" dirty="0"/>
              <a:t>SAP_HANA_INTERNAL_SUPPORT is required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7C87B0C-DA84-4FB8-9F54-E46B96AADF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7791" y="3429000"/>
            <a:ext cx="5798209" cy="1898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082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E70AA1-44B7-4702-B258-0F4E69FDA4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Configuring Traces from HANA Studio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263DD077-3FFA-4DAE-B76A-2A30851D949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585047" y="1337192"/>
            <a:ext cx="7280553" cy="463391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216CB14-7E65-4585-8641-E4ED1BD9E9FE}"/>
              </a:ext>
            </a:extLst>
          </p:cNvPr>
          <p:cNvSpPr/>
          <p:nvPr/>
        </p:nvSpPr>
        <p:spPr>
          <a:xfrm>
            <a:off x="326400" y="1425338"/>
            <a:ext cx="3926623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400" dirty="0">
                <a:latin typeface="Arial" panose="020B0604020202020204" pitchFamily="34" charset="0"/>
              </a:rPr>
              <a:t>To be able to configure traces. you must have the system privilege TRACE ADMIN.</a:t>
            </a:r>
          </a:p>
          <a:p>
            <a:r>
              <a:rPr lang="en-IN" sz="1400" dirty="0">
                <a:latin typeface="Arial" panose="020B0604020202020204" pitchFamily="34" charset="0"/>
              </a:rPr>
              <a:t>To configure the kernel profiler. you must have the </a:t>
            </a:r>
            <a:r>
              <a:rPr lang="en-US" sz="1400" dirty="0">
                <a:latin typeface="Arial" panose="020B0604020202020204" pitchFamily="34" charset="0"/>
              </a:rPr>
              <a:t>SAP INTERNAL_HANA_SUPPORT standard role.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18886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D2EDE8-7AC7-497F-AB79-056CD2C765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tivate tra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546FDF-4A42-4FA5-AB91-81415F7480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0800" y="1454400"/>
            <a:ext cx="4869153" cy="4633200"/>
          </a:xfrm>
        </p:spPr>
        <p:txBody>
          <a:bodyPr/>
          <a:lstStyle/>
          <a:p>
            <a:pPr marL="0" indent="0">
              <a:buNone/>
            </a:pPr>
            <a:r>
              <a:rPr lang="en-IN" sz="1400" dirty="0"/>
              <a:t>Database trace is activated by default.</a:t>
            </a:r>
          </a:p>
          <a:p>
            <a:pPr marL="0" indent="0">
              <a:buNone/>
            </a:pPr>
            <a:endParaRPr lang="en-US" sz="1400" dirty="0"/>
          </a:p>
          <a:p>
            <a:pPr marL="0" indent="0">
              <a:buNone/>
            </a:pPr>
            <a:r>
              <a:rPr lang="en-US" sz="1400" dirty="0"/>
              <a:t>Check the Diagnosis Files</a:t>
            </a:r>
          </a:p>
          <a:p>
            <a:pPr marL="0" indent="0">
              <a:buNone/>
            </a:pPr>
            <a:r>
              <a:rPr lang="en-IN" sz="1400" dirty="0"/>
              <a:t>In case of problems with the database. log and trace files can be checked for errors. These</a:t>
            </a:r>
          </a:p>
          <a:p>
            <a:pPr marL="0" indent="0">
              <a:buNone/>
            </a:pPr>
            <a:r>
              <a:rPr lang="en-IN" sz="1400" dirty="0"/>
              <a:t>diagnosis files are available in the studio on the </a:t>
            </a:r>
            <a:r>
              <a:rPr lang="en-IN" sz="1400" i="1" dirty="0"/>
              <a:t>Diagnosis Files </a:t>
            </a:r>
            <a:r>
              <a:rPr lang="en-IN" sz="1400" dirty="0"/>
              <a:t>tab of the Administration</a:t>
            </a:r>
          </a:p>
          <a:p>
            <a:pPr marL="0" indent="0">
              <a:buNone/>
            </a:pPr>
            <a:r>
              <a:rPr lang="en-IN" sz="1400" dirty="0"/>
              <a:t>editor. For more information. refer to the section Working with Diagnosis Files in this unit.</a:t>
            </a:r>
          </a:p>
          <a:p>
            <a:pPr marL="0" indent="0">
              <a:buNone/>
            </a:pPr>
            <a:endParaRPr lang="en-IN" sz="1400" dirty="0"/>
          </a:p>
          <a:p>
            <a:pPr marL="0" indent="0">
              <a:buNone/>
            </a:pPr>
            <a:r>
              <a:rPr lang="en-IN" sz="1400" dirty="0"/>
              <a:t>To display a diagnosis file. choose </a:t>
            </a:r>
            <a:r>
              <a:rPr lang="en-IN" sz="1400" i="1" dirty="0"/>
              <a:t>Open </a:t>
            </a:r>
            <a:r>
              <a:rPr lang="en-IN" sz="1400" dirty="0"/>
              <a:t>in the context menu of the list. or double-click the</a:t>
            </a:r>
          </a:p>
          <a:p>
            <a:pPr marL="0" indent="0">
              <a:buNone/>
            </a:pPr>
            <a:r>
              <a:rPr lang="en-IN" sz="1400" dirty="0"/>
              <a:t>entry of the respective log file.</a:t>
            </a:r>
            <a:endParaRPr lang="en-US" sz="14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03AFA4B-2C64-47BF-A06D-F846CD9AF2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72494" y="1333185"/>
            <a:ext cx="6278706" cy="463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449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C57A13-D074-4CD0-ACA0-D69E53AD7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ing with Diagnosis fi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768202-878A-45B1-9E5A-003C2AAB30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7200" y="1454400"/>
            <a:ext cx="4693144" cy="4633200"/>
          </a:xfrm>
        </p:spPr>
        <p:txBody>
          <a:bodyPr/>
          <a:lstStyle/>
          <a:p>
            <a:pPr marL="0" indent="0">
              <a:buNone/>
            </a:pPr>
            <a:r>
              <a:rPr lang="en-IN" sz="1400" dirty="0"/>
              <a:t>Diagnosis files include log and trace files. as well as a mixture of other diagnosis, error. And information files. In</a:t>
            </a:r>
            <a:r>
              <a:rPr lang="en-IN" sz="1400" b="1" dirty="0"/>
              <a:t> </a:t>
            </a:r>
            <a:r>
              <a:rPr lang="en-IN" sz="1400" dirty="0"/>
              <a:t>the event of problems with the SAP HANA database. you can check these diagnosis files for errors. You can also filter. merge, delete. and download diagnosis files.</a:t>
            </a:r>
          </a:p>
          <a:p>
            <a:pPr marL="0" indent="0">
              <a:buNone/>
            </a:pPr>
            <a:endParaRPr lang="en-IN" sz="1400" dirty="0"/>
          </a:p>
          <a:p>
            <a:pPr marL="0" indent="0">
              <a:buNone/>
            </a:pPr>
            <a:r>
              <a:rPr lang="en-IN" sz="1400" dirty="0"/>
              <a:t>You can access the diagnosis files on the </a:t>
            </a:r>
            <a:r>
              <a:rPr lang="en-IN" sz="1400" i="1" dirty="0"/>
              <a:t>Diagnosis Files </a:t>
            </a:r>
            <a:r>
              <a:rPr lang="en-IN" sz="1400" dirty="0"/>
              <a:t>tab of the Administration editor.</a:t>
            </a:r>
          </a:p>
          <a:p>
            <a:pPr marL="0" indent="0">
              <a:buNone/>
            </a:pPr>
            <a:r>
              <a:rPr lang="en-IN" sz="1400" dirty="0"/>
              <a:t>They are stored by default in the following location: /</a:t>
            </a:r>
            <a:r>
              <a:rPr lang="en-IN" sz="1400" dirty="0" err="1"/>
              <a:t>usr</a:t>
            </a:r>
            <a:r>
              <a:rPr lang="en-IN" sz="1400" dirty="0"/>
              <a:t> /sap/ &lt;SID&gt;/HDB&lt;instance&gt;/</a:t>
            </a:r>
            <a:r>
              <a:rPr lang="en-US" sz="1400" dirty="0"/>
              <a:t>&lt;host&gt;/trace</a:t>
            </a:r>
          </a:p>
          <a:p>
            <a:pPr marL="0" indent="0">
              <a:buNone/>
            </a:pPr>
            <a:r>
              <a:rPr lang="en-IN" sz="1400" dirty="0"/>
              <a:t>In this location you can monitor disk space that is used for diagnosis files and delete files that </a:t>
            </a:r>
            <a:r>
              <a:rPr lang="en-US" sz="1400" dirty="0"/>
              <a:t>are no longer needed.</a:t>
            </a:r>
          </a:p>
          <a:p>
            <a:pPr marL="0" indent="0">
              <a:buNone/>
            </a:pPr>
            <a:endParaRPr lang="en-US" sz="1400" dirty="0"/>
          </a:p>
          <a:p>
            <a:pPr marL="0" indent="0">
              <a:buNone/>
            </a:pPr>
            <a:r>
              <a:rPr lang="en-IN" sz="1400" b="1" dirty="0"/>
              <a:t>To be able to view diagnosis files and delete trace files. you must have the system </a:t>
            </a:r>
            <a:r>
              <a:rPr lang="en-US" sz="1400" b="1" dirty="0"/>
              <a:t>privilege TRACE ADMIN.</a:t>
            </a:r>
          </a:p>
          <a:p>
            <a:pPr marL="0" indent="0">
              <a:buNone/>
            </a:pPr>
            <a:endParaRPr lang="en-US" sz="1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1141E70-28C5-40B1-82C8-E5A4266A58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43141" y="1454400"/>
            <a:ext cx="6271808" cy="4536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247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F600A1-2EF7-4B9E-9C55-8FE1B024EF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ollecting and Downloading Diagnosis Informatio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348DF6-ED73-4E37-AF1F-0D8E4E79A3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1600" y="1317218"/>
            <a:ext cx="11664000" cy="1352595"/>
          </a:xfrm>
        </p:spPr>
        <p:txBody>
          <a:bodyPr/>
          <a:lstStyle/>
          <a:p>
            <a:pPr marL="0" indent="0">
              <a:buNone/>
            </a:pPr>
            <a:r>
              <a:rPr lang="en-IN" sz="1400" dirty="0"/>
              <a:t>To analyse and diagnose problems with the system, you can collect diagnosis information into a zip file. which you can then download and attach to a support message. The script was extended to include the following:</a:t>
            </a:r>
          </a:p>
          <a:p>
            <a:pPr marL="0" indent="0">
              <a:buNone/>
            </a:pPr>
            <a:r>
              <a:rPr lang="en-IN" sz="1400" dirty="0"/>
              <a:t>• Collect diagnosis information through the execution of a SQL procedure.</a:t>
            </a:r>
          </a:p>
          <a:p>
            <a:pPr marL="0" indent="0">
              <a:buNone/>
            </a:pPr>
            <a:r>
              <a:rPr lang="en-IN" sz="1400" dirty="0"/>
              <a:t>• Collect diagnosis information through the execution of a Python script.</a:t>
            </a:r>
          </a:p>
          <a:p>
            <a:pPr marL="0" indent="0">
              <a:buNone/>
            </a:pPr>
            <a:r>
              <a:rPr lang="en-IN" sz="1400" dirty="0"/>
              <a:t>• Download and delete collected diagnosis informa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FE511F1-66E4-4EF0-97AC-0FC54048C21C}"/>
              </a:ext>
            </a:extLst>
          </p:cNvPr>
          <p:cNvSpPr/>
          <p:nvPr/>
        </p:nvSpPr>
        <p:spPr>
          <a:xfrm>
            <a:off x="241000" y="2664891"/>
            <a:ext cx="11497341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400" dirty="0">
                <a:latin typeface="+mj-lt"/>
              </a:rPr>
              <a:t>When you trigger the collection of diagnosis information. the system collects the relevant information by executing the Python script FULLSYSTEMINFODUMP. PY. </a:t>
            </a:r>
          </a:p>
          <a:p>
            <a:endParaRPr lang="en-IN" sz="1400" dirty="0">
              <a:latin typeface="+mj-lt"/>
            </a:endParaRPr>
          </a:p>
          <a:p>
            <a:r>
              <a:rPr lang="en-IN" sz="1400" dirty="0">
                <a:latin typeface="+mj-lt"/>
              </a:rPr>
              <a:t>You can execute this script either using an SQL procedure or directly, if no SQL connection is available to the </a:t>
            </a:r>
            <a:r>
              <a:rPr lang="en-US" sz="1400" dirty="0">
                <a:latin typeface="+mj-lt"/>
              </a:rPr>
              <a:t>database. </a:t>
            </a:r>
            <a:r>
              <a:rPr lang="en-IN" sz="1400" dirty="0">
                <a:latin typeface="+mj-lt"/>
              </a:rPr>
              <a:t>Even if an SQL connection is available. it may be desirable to </a:t>
            </a:r>
          </a:p>
          <a:p>
            <a:r>
              <a:rPr lang="en-IN" sz="1400" dirty="0">
                <a:latin typeface="+mj-lt"/>
              </a:rPr>
              <a:t>execute the Python script directly if using the </a:t>
            </a:r>
          </a:p>
          <a:p>
            <a:r>
              <a:rPr lang="en-IN" sz="1400" dirty="0">
                <a:latin typeface="+mj-lt"/>
              </a:rPr>
              <a:t>SQL procedure would overload the system.</a:t>
            </a:r>
          </a:p>
          <a:p>
            <a:endParaRPr lang="en-IN" sz="1400" dirty="0">
              <a:latin typeface="+mj-lt"/>
            </a:endParaRPr>
          </a:p>
          <a:p>
            <a:r>
              <a:rPr lang="en-IN" sz="1400" dirty="0">
                <a:latin typeface="+mj-lt"/>
              </a:rPr>
              <a:t>Collecting Diagnosis Information Using the </a:t>
            </a:r>
          </a:p>
          <a:p>
            <a:r>
              <a:rPr lang="en-IN" sz="1400" dirty="0">
                <a:latin typeface="+mj-lt"/>
              </a:rPr>
              <a:t>Command Lin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E750285-8CE7-43BD-A8A0-7D97846996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78344" y="3683088"/>
            <a:ext cx="6028571" cy="24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186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D58C3-92D3-49F2-88A7-F0D6E3E6C3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Dump File Collection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FBD637FE-EC06-4752-8AA4-2EE08F35397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999069" y="2038002"/>
            <a:ext cx="5769600" cy="404755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3DF746F-BCD4-4C27-B09F-F6B76928A9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600" y="1406244"/>
            <a:ext cx="5769600" cy="3477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424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094F34-1DFA-466F-A565-25DF9AC2C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rting and stopping the SAP HANA databa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195A6C-FF53-4ED7-832D-7B0172ADA6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IN" sz="1400" dirty="0"/>
              <a:t>To be able to start and stop an SAP HANA system, you must have the credentials of the operating system user ( &lt;</a:t>
            </a:r>
            <a:r>
              <a:rPr lang="en-IN" sz="1400" dirty="0" err="1"/>
              <a:t>sid</a:t>
            </a:r>
            <a:r>
              <a:rPr lang="en-IN" sz="1400" dirty="0"/>
              <a:t>&gt;</a:t>
            </a:r>
            <a:r>
              <a:rPr lang="en-IN" sz="1400" dirty="0" err="1"/>
              <a:t>adm</a:t>
            </a:r>
            <a:r>
              <a:rPr lang="en-IN" sz="1400" dirty="0"/>
              <a:t>) that was created when the system was installed. Alternatively, SAP HANA can be started and stopped by root users. The SAP start service (</a:t>
            </a:r>
            <a:r>
              <a:rPr lang="en-IN" sz="1400" dirty="0" err="1"/>
              <a:t>sapstartsrv</a:t>
            </a:r>
            <a:r>
              <a:rPr lang="en-IN" sz="1400" dirty="0"/>
              <a:t>) is the standard SAP mechanism for starting and stopping systems. It starts all necessary database services. such as the name server, index server. and statistics server </a:t>
            </a:r>
            <a:r>
              <a:rPr lang="en-US" sz="1400" dirty="0"/>
              <a:t>services.</a:t>
            </a:r>
          </a:p>
          <a:p>
            <a:pPr marL="0" indent="0">
              <a:buNone/>
            </a:pPr>
            <a:endParaRPr lang="en-US" sz="1400" dirty="0"/>
          </a:p>
          <a:p>
            <a:pPr marL="0" indent="0">
              <a:buNone/>
            </a:pPr>
            <a:r>
              <a:rPr lang="en-IN" sz="1400" dirty="0"/>
              <a:t>The SAP HANA database can be started or stopped by using SAP HANA studio or by using OS </a:t>
            </a:r>
            <a:r>
              <a:rPr lang="en-US" sz="1400" dirty="0"/>
              <a:t>commands.</a:t>
            </a:r>
          </a:p>
          <a:p>
            <a:pPr marL="0" indent="0">
              <a:buNone/>
            </a:pPr>
            <a:endParaRPr lang="en-US" sz="14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D81B7B1-9715-4053-9707-479CED2697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200" y="3083515"/>
            <a:ext cx="7342857" cy="292380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BA37004-3EDE-451D-94BD-645706CD3359}"/>
              </a:ext>
            </a:extLst>
          </p:cNvPr>
          <p:cNvSpPr/>
          <p:nvPr/>
        </p:nvSpPr>
        <p:spPr>
          <a:xfrm>
            <a:off x="7753341" y="3206591"/>
            <a:ext cx="4006268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400" dirty="0">
                <a:latin typeface="Arial" panose="020B0604020202020204" pitchFamily="34" charset="0"/>
              </a:rPr>
              <a:t>When starting the SAP HANA database with the SAP HANA studio. you have to enter the user</a:t>
            </a:r>
          </a:p>
          <a:p>
            <a:r>
              <a:rPr lang="en-IN" sz="1400" dirty="0">
                <a:latin typeface="Arial" panose="020B0604020202020204" pitchFamily="34" charset="0"/>
              </a:rPr>
              <a:t>name and password of the operating system user &lt;</a:t>
            </a:r>
            <a:r>
              <a:rPr lang="en-IN" sz="1400" dirty="0" err="1">
                <a:latin typeface="Arial" panose="020B0604020202020204" pitchFamily="34" charset="0"/>
              </a:rPr>
              <a:t>sid</a:t>
            </a:r>
            <a:r>
              <a:rPr lang="en-IN" sz="1400" dirty="0">
                <a:latin typeface="Arial" panose="020B0604020202020204" pitchFamily="34" charset="0"/>
              </a:rPr>
              <a:t>&gt;</a:t>
            </a:r>
            <a:r>
              <a:rPr lang="en-IN" sz="1400" dirty="0" err="1">
                <a:latin typeface="Arial" panose="020B0604020202020204" pitchFamily="34" charset="0"/>
              </a:rPr>
              <a:t>adrn</a:t>
            </a:r>
            <a:r>
              <a:rPr lang="en-IN" sz="1400" dirty="0">
                <a:latin typeface="Arial" panose="020B0604020202020204" pitchFamily="34" charset="0"/>
              </a:rPr>
              <a:t>.</a:t>
            </a:r>
          </a:p>
          <a:p>
            <a:endParaRPr lang="en-IN" sz="1400" dirty="0">
              <a:latin typeface="Arial" panose="020B0604020202020204" pitchFamily="34" charset="0"/>
            </a:endParaRPr>
          </a:p>
          <a:p>
            <a:r>
              <a:rPr lang="en-IN" sz="1400" dirty="0">
                <a:latin typeface="Arial" panose="020B0604020202020204" pitchFamily="34" charset="0"/>
              </a:rPr>
              <a:t>Optionally. a start timeout can be specified. The start timeout defines how long </a:t>
            </a:r>
            <a:r>
              <a:rPr lang="en-IN" sz="1400" dirty="0" err="1">
                <a:latin typeface="Arial" panose="020B0604020202020204" pitchFamily="34" charset="0"/>
              </a:rPr>
              <a:t>sapstartsrv</a:t>
            </a:r>
            <a:endParaRPr lang="en-IN" sz="1400" dirty="0">
              <a:latin typeface="Arial" panose="020B0604020202020204" pitchFamily="34" charset="0"/>
            </a:endParaRPr>
          </a:p>
          <a:p>
            <a:r>
              <a:rPr lang="en-IN" sz="1400" dirty="0">
                <a:latin typeface="Arial" panose="020B0604020202020204" pitchFamily="34" charset="0"/>
              </a:rPr>
              <a:t>waits for a service to start. If the end of the timeout period is reached. the remaining services </a:t>
            </a:r>
            <a:r>
              <a:rPr lang="en-US" sz="1400" dirty="0">
                <a:latin typeface="Arial" panose="020B0604020202020204" pitchFamily="34" charset="0"/>
              </a:rPr>
              <a:t>are not started.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177567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902762-89EB-4592-BEF9-9C37401EF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oubleshoot using HANA Cockpi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11E083C-3990-478D-8E5A-3D565E6E83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68501" y="1281414"/>
            <a:ext cx="6359267" cy="4792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560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4D7B48-7CC8-40EC-A484-B071C01BD5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ing the SQL Conso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3D5C72-D4CA-4087-851D-FD83A2AEE9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09790" y="1380855"/>
            <a:ext cx="6247619" cy="4542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613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D2841-D2BC-45E3-93C9-864429B10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 a database to the explore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CB6BDEE-6950-4BF2-8FA7-9883FFDF92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45218" y="1538377"/>
            <a:ext cx="5786730" cy="4527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879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EC7D8B-D309-4106-8DBB-DDFA94C5F1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itor Expensive Statement Trace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7AB365DC-44C0-4565-BC49-21BCBA9FF63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705065" y="1400987"/>
            <a:ext cx="6330171" cy="4633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80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275C8C-9482-45C4-ACFB-142A2F94CC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QL Plan Cache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20B63F16-BCB1-43E0-913F-7307B1030FF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061863" y="1490154"/>
            <a:ext cx="5914286" cy="4561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305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05E076-E46A-43B5-BD6C-F676C3D954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efinition in Database Explore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D4F4D7C-F95F-4196-B974-D274612417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2715" y="1317649"/>
            <a:ext cx="6379536" cy="4741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948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5FEC71-8C12-42EB-BE5A-ED47E79D9E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stribution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B67D253D-C3F0-4237-8556-163ADB5A9E3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20895" y="1307807"/>
            <a:ext cx="6563305" cy="309672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D378290-54A0-4EF7-B9F1-761ED160A5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09770" y="2477387"/>
            <a:ext cx="5775411" cy="3496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63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06CA43-70BB-46B6-8A88-E30DFA144D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Partitioning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FC9520F9-EFB1-4751-952B-F973E9B6C1D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97362" y="1315926"/>
            <a:ext cx="5233874" cy="463391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596C3D8-C134-405E-9E8E-58EC97CAA0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31236" y="1932550"/>
            <a:ext cx="6561905" cy="3609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069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672DD0-9B8B-448C-98B4-92E407E1EE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Partitioning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B82E238E-E471-40F8-B565-6566408FA93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78399" y="1371600"/>
            <a:ext cx="5541954" cy="323229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2526143-EA2C-4E3A-9E99-88CF84A15E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60767" y="2254102"/>
            <a:ext cx="6604833" cy="3835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034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FD7463-3393-4542-81ED-67D1C8AD1C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orting and Exporting Tables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9ACB0BB7-59AB-42F1-AD99-6F0FAB49DBB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87079" y="1336480"/>
            <a:ext cx="6348000" cy="474842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20357B8-73CF-4557-B203-0C036CFF6B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30442" y="2126512"/>
            <a:ext cx="5135158" cy="377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226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D4C516-4C7C-44EB-9466-8EB214F250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tarting the SAP HANA Database - Using HANA Studio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52EE6255-76F9-4D23-9D76-EC264C8B10F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078349" y="1432885"/>
            <a:ext cx="6644700" cy="463391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F434832-9A3F-4041-8ED5-171329C74E7B}"/>
              </a:ext>
            </a:extLst>
          </p:cNvPr>
          <p:cNvSpPr/>
          <p:nvPr/>
        </p:nvSpPr>
        <p:spPr>
          <a:xfrm>
            <a:off x="468951" y="1432885"/>
            <a:ext cx="4507086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400" dirty="0">
                <a:latin typeface="Arial" panose="020B0604020202020204" pitchFamily="34" charset="0"/>
              </a:rPr>
              <a:t>The Administration Editor opens in diagnosis mode and the database services start one by one. When all services have started. a green dot appears in the system icon in the Navigator </a:t>
            </a:r>
            <a:r>
              <a:rPr lang="en-US" sz="1400" dirty="0">
                <a:latin typeface="Arial" panose="020B0604020202020204" pitchFamily="34" charset="0"/>
              </a:rPr>
              <a:t>view.</a:t>
            </a:r>
          </a:p>
          <a:p>
            <a:r>
              <a:rPr lang="en-IN" sz="1400" b="1" dirty="0">
                <a:latin typeface="Arial" panose="020B0604020202020204" pitchFamily="34" charset="0"/>
              </a:rPr>
              <a:t>When the system is started. the following activities are executed:</a:t>
            </a:r>
          </a:p>
          <a:p>
            <a:r>
              <a:rPr lang="en-IN" sz="1400" dirty="0">
                <a:latin typeface="Arial" panose="020B0604020202020204" pitchFamily="34" charset="0"/>
              </a:rPr>
              <a:t>• The database receives the status of the last committed transaction.</a:t>
            </a:r>
          </a:p>
          <a:p>
            <a:r>
              <a:rPr lang="en-IN" sz="1400" dirty="0">
                <a:latin typeface="Arial" panose="020B0604020202020204" pitchFamily="34" charset="0"/>
              </a:rPr>
              <a:t>• All of the changes of committed transactions that were not written to the data area are </a:t>
            </a:r>
            <a:r>
              <a:rPr lang="en-US" sz="1400" dirty="0">
                <a:latin typeface="Arial" panose="020B0604020202020204" pitchFamily="34" charset="0"/>
              </a:rPr>
              <a:t>redone.</a:t>
            </a:r>
          </a:p>
          <a:p>
            <a:r>
              <a:rPr lang="en-IN" sz="1400" dirty="0">
                <a:latin typeface="Arial" panose="020B0604020202020204" pitchFamily="34" charset="0"/>
              </a:rPr>
              <a:t>• All of the write transactions that were open when the database was stopped are rolled </a:t>
            </a:r>
            <a:r>
              <a:rPr lang="en-US" sz="1400" dirty="0">
                <a:latin typeface="Arial" panose="020B0604020202020204" pitchFamily="34" charset="0"/>
              </a:rPr>
              <a:t>back.</a:t>
            </a:r>
          </a:p>
          <a:p>
            <a:r>
              <a:rPr lang="en-IN" sz="1400" dirty="0">
                <a:latin typeface="Arial" panose="020B0604020202020204" pitchFamily="34" charset="0"/>
              </a:rPr>
              <a:t>• </a:t>
            </a:r>
            <a:r>
              <a:rPr lang="en-IN" sz="1400" dirty="0"/>
              <a:t>Row tables are loaded into memory, except those tables that are configured to be loaded</a:t>
            </a:r>
          </a:p>
          <a:p>
            <a:r>
              <a:rPr lang="en-IN" sz="1400" dirty="0"/>
              <a:t>on demand and that are not marked for preload.</a:t>
            </a:r>
          </a:p>
          <a:p>
            <a:r>
              <a:rPr lang="en-IN" sz="1400" dirty="0"/>
              <a:t>• A savepoint is performed with the restored consistent state of the database.</a:t>
            </a:r>
          </a:p>
          <a:p>
            <a:r>
              <a:rPr lang="en-IN" sz="1400" dirty="0"/>
              <a:t>• Relevant column tables and their attributes are loaded into memory asynchronously, in the</a:t>
            </a:r>
          </a:p>
          <a:p>
            <a:r>
              <a:rPr lang="en-US" sz="1400" dirty="0"/>
              <a:t>background.</a:t>
            </a:r>
          </a:p>
        </p:txBody>
      </p:sp>
    </p:spTree>
    <p:extLst>
      <p:ext uri="{BB962C8B-B14F-4D97-AF65-F5344CB8AC3E}">
        <p14:creationId xmlns:p14="http://schemas.microsoft.com/office/powerpoint/2010/main" val="3677680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618BB-9E81-47BB-8A99-F123AFE811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ort and Import of Models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0526ACD6-34B9-4F4E-BFA3-D94BF4E9BC1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183003" y="1358457"/>
            <a:ext cx="5459354" cy="4633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694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3952A6-B98A-45A1-AA60-DE06E6A4AB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itoring Disk Spac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45447EE-6234-4AA9-99BD-EDAB1CF1F9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5600" y="2786478"/>
            <a:ext cx="7200000" cy="3352381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E335538-605A-4B5C-9D46-6623BFE3EE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400" dirty="0"/>
              <a:t>Data files contain all the data in the database. Data is copied to the disk at</a:t>
            </a:r>
          </a:p>
          <a:p>
            <a:r>
              <a:rPr lang="en-US" sz="1400" dirty="0"/>
              <a:t>regular intervals in case of data loss as a result of a power failure. You must</a:t>
            </a:r>
          </a:p>
          <a:p>
            <a:r>
              <a:rPr lang="en-US" sz="1400" dirty="0"/>
              <a:t>always ensure that there is enough space on the disk for these files to be</a:t>
            </a:r>
          </a:p>
          <a:p>
            <a:r>
              <a:rPr lang="en-US" sz="1400" dirty="0"/>
              <a:t>saved. Data within a system is contained in volumes.</a:t>
            </a:r>
          </a:p>
          <a:p>
            <a:r>
              <a:rPr lang="en-US" sz="1400" dirty="0"/>
              <a:t>You can monitor disk space on the Volumes tab of the Administration Editor.</a:t>
            </a:r>
          </a:p>
          <a:p>
            <a:r>
              <a:rPr lang="en-US" sz="1400" dirty="0"/>
              <a:t>You can view volume information according </a:t>
            </a:r>
          </a:p>
          <a:p>
            <a:pPr marL="0" indent="0">
              <a:buNone/>
            </a:pPr>
            <a:r>
              <a:rPr lang="en-US" sz="1400" dirty="0"/>
              <a:t>to the following filters:</a:t>
            </a:r>
          </a:p>
          <a:p>
            <a:r>
              <a:rPr lang="en-US" sz="1400" dirty="0"/>
              <a:t>The Show filter enables you to view the </a:t>
            </a:r>
          </a:p>
          <a:p>
            <a:pPr marL="0" indent="0">
              <a:buNone/>
            </a:pPr>
            <a:r>
              <a:rPr lang="en-US" sz="1400" dirty="0"/>
              <a:t>volumes information either by service</a:t>
            </a:r>
          </a:p>
          <a:p>
            <a:pPr marL="0" indent="0">
              <a:buNone/>
            </a:pPr>
            <a:r>
              <a:rPr lang="en-US" sz="1400" dirty="0"/>
              <a:t>or storage ID.</a:t>
            </a:r>
          </a:p>
          <a:p>
            <a:r>
              <a:rPr lang="en-US" sz="1400" dirty="0"/>
              <a:t>The Host filter enables you to view volumes</a:t>
            </a:r>
          </a:p>
          <a:p>
            <a:pPr marL="0" indent="0">
              <a:buNone/>
            </a:pPr>
            <a:r>
              <a:rPr lang="en-US" sz="1400" dirty="0"/>
              <a:t>information either on all hosts or</a:t>
            </a:r>
          </a:p>
          <a:p>
            <a:pPr marL="0" indent="0">
              <a:buNone/>
            </a:pPr>
            <a:r>
              <a:rPr lang="en-US" sz="1400" dirty="0"/>
              <a:t>on selected hosts.</a:t>
            </a:r>
          </a:p>
        </p:txBody>
      </p:sp>
    </p:spTree>
    <p:extLst>
      <p:ext uri="{BB962C8B-B14F-4D97-AF65-F5344CB8AC3E}">
        <p14:creationId xmlns:p14="http://schemas.microsoft.com/office/powerpoint/2010/main" val="2160372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A96F26-A640-486E-BE56-F158941CDC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Volumes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288D6FBE-5701-46F7-AAEA-DB5FF0DB6C6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846881" y="1351176"/>
            <a:ext cx="8373437" cy="4630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308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906651-D0D3-45F7-BDEF-EF3B53AA95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PU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B1B3245A-D34D-48A5-A5EA-A87CB74E52D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800666" y="1418768"/>
            <a:ext cx="7714670" cy="4531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721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27D379-4D1F-4348-B3B3-8A8C93F16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C38F1A05-A8E4-435E-BA2D-92F9F89C288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913207" y="1361304"/>
            <a:ext cx="7529610" cy="441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212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3B8721-58CD-4377-837D-B5DC704E7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222499BE-2A64-472D-802A-F36D246F13C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842868" y="1349277"/>
            <a:ext cx="7780900" cy="4512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519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FC63BC-4753-4BDC-9E7F-13D11B2EAC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mory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ACC073DF-20AC-46C8-B8F2-84D5A94ACF4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71405" y="1442440"/>
            <a:ext cx="7924389" cy="4470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545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4030EB-C30A-43C2-8FC7-E1EE90CD3B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8D4535F7-2252-4746-95A6-9B1C064C54E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725550" y="1281872"/>
            <a:ext cx="6616099" cy="4633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101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66A9EC-82A9-4158-849F-4CEDC08D87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Allocation Limit Parameter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0A27BCB-DEEA-4815-98F6-AC3E1E6C004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683026" y="1346190"/>
            <a:ext cx="7912171" cy="4424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79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BA8684-3546-42A8-A485-9FF50BFF4F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Monitoring in the SAP HANA cockpit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4E60A333-C8D2-408C-AD56-98952935230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15282" y="1417983"/>
            <a:ext cx="10170391" cy="4348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087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464530-3E93-4C42-9962-543755AD9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topping the SAP HANA Database - Using HANA Studio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7239A3-7D01-4274-B9D9-73504F1B87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IN" sz="1400" dirty="0"/>
              <a:t>When stopping the SAP HANA database, you are able to define how you want to stop the system.</a:t>
            </a:r>
            <a:endParaRPr lang="en-US" sz="14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F79CCFD-A697-4585-AC3F-9F8B32F6A5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8219" y="2324595"/>
            <a:ext cx="5434414" cy="181147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49DE6D8-C73F-431C-82F4-84750F48A3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2633" y="1883343"/>
            <a:ext cx="6112967" cy="4188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001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D70A49-0E78-44DF-B48A-013565688B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DB9824C-8362-403C-811C-23F74572EF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0039" y="1307804"/>
            <a:ext cx="8965159" cy="4715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06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36B5AE-A9E1-422E-803C-4C768D5C26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29CD9A52-9325-473F-94D3-AE19512A0C9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18618" y="1348133"/>
            <a:ext cx="9029963" cy="4633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849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6CB5B-B282-44B8-ACFD-FD8F6CA89A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51B5EF99-D142-48D0-A1D1-96492178B11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728145" y="1361384"/>
            <a:ext cx="8610910" cy="4633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0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339823-14FE-4837-AB99-4819F51DBA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8CB32FC6-7CF4-4B09-8CF4-F9C271456DC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642630" y="1374637"/>
            <a:ext cx="8781939" cy="4633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528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30A498-0B1D-4D21-9B9F-1054AF272F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sz="7200" b="1" dirty="0"/>
          </a:p>
          <a:p>
            <a:pPr marL="0" indent="0" algn="ctr">
              <a:buNone/>
            </a:pPr>
            <a:r>
              <a:rPr lang="en-US" sz="4400" b="1" dirty="0"/>
              <a:t>SAP HANA Alerts</a:t>
            </a:r>
            <a:endParaRPr lang="en-US" sz="4400" dirty="0"/>
          </a:p>
        </p:txBody>
      </p:sp>
    </p:spTree>
    <p:extLst>
      <p:ext uri="{BB962C8B-B14F-4D97-AF65-F5344CB8AC3E}">
        <p14:creationId xmlns:p14="http://schemas.microsoft.com/office/powerpoint/2010/main" val="4273673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85E017-A6EC-43F3-89E7-8D8807AD9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itoring Alerts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A92D7FA7-C86A-4F2B-B9A4-9528B846737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36340" y="1484243"/>
            <a:ext cx="10010291" cy="4228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276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994E71-2D8E-4098-9D39-012C02A551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erts in SAP HANA Cockpi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CC6D4D0-E878-4D87-A653-5F911E90C1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74153" y="1313286"/>
            <a:ext cx="5533333" cy="4685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192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336CA3-6B6B-49C2-8570-41FD18E526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erts Configuration in Cockpi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DF845DF-7E3D-4C53-BA5F-CAB262A67F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9405" y="1307805"/>
            <a:ext cx="5714517" cy="4848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193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BE825B-0F88-4D86-96D1-04B1520DE7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ead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928943E-6DA3-46B4-944A-809AD336EC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4735" y="1402396"/>
            <a:ext cx="7260305" cy="4694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692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B59F84-DD9B-4249-9E33-2E56DCB4CD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ss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2F84626-DA74-43EF-889F-567672D919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4099" y="1299277"/>
            <a:ext cx="6483801" cy="4828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5205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0ABAC261-5EB5-4AFA-A537-F275041DF8E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14334" y="1437425"/>
            <a:ext cx="5493513" cy="4153957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673A5E7D-AEF1-4096-B536-D9CCAFAEC1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tarting the SAP HANA Database - Using HANA Cockpit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1BF43F8-4086-414D-BB97-8DF001BE13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98819" y="1437426"/>
            <a:ext cx="6166781" cy="4153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7601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C61727-B3D9-4BE4-BDCB-19FCB6C1C9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itor Statemen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EDF468D-0861-4ABA-80ED-0EF848A87A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6457" y="1617643"/>
            <a:ext cx="8314286" cy="4409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801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2FE13B-8B69-4042-80DE-1F43E81460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stem Replica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6BCF1B0-36A0-4553-A782-3C66A0F0B7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77117" y="1341612"/>
            <a:ext cx="6614718" cy="4812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1514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ECEDED-D19E-42F7-8EF5-743CFD61E8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 Informa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1DF8F1-D32F-44E5-9BCE-FAD84C1C4B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7778" y="1280589"/>
            <a:ext cx="7599002" cy="4886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48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39A81C-DEB3-4E61-8F1E-DA0EFC6686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vigating Alerts from HANA Studio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D07B8BF7-BFB5-4C5E-9714-6BF8B8366E4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84244" y="1264899"/>
            <a:ext cx="8196668" cy="4530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785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FC824-31BB-40EF-ACCD-46AA1AF0D4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tering Alerts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65ABB2DC-C35B-4266-9DCB-2A8B42BD103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762540" y="1253452"/>
            <a:ext cx="7613610" cy="4503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718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BCFE17-8505-473B-91AF-540B6E202E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tailed Alert Information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DE7EABAA-52A5-4616-B490-2BBD1858AEE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08550" y="1590262"/>
            <a:ext cx="8689196" cy="4112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6972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BC26D0-10DB-4710-8738-0D0582CF98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guring the E-mail function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0D5F7B01-07BE-40B5-8286-4EDC28B68F0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155343" y="3486529"/>
            <a:ext cx="5542272" cy="261919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9A8FB0C-8D61-4EE0-B760-6F9C9551BC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600" y="1368687"/>
            <a:ext cx="5953743" cy="2524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3072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22A8A9-F5C2-41A2-8C9E-9F601E37DA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0" dirty="0"/>
              <a:t>Starting and Stopping the SAP HANA Database - Using OS Commands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A3DD6D78-F802-465B-9477-F3378C08F7D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43972" y="1307678"/>
            <a:ext cx="6003665" cy="267321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73EB225-2F3C-497B-81FD-6A441DB73F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6736" y="2034595"/>
            <a:ext cx="4476306" cy="278880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C663942-427C-41C3-880B-1AC0A1A75C3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9032" y="3980897"/>
            <a:ext cx="6152521" cy="2092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3969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183475-EE16-4CA4-B763-A0F993FFCC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0" dirty="0"/>
              <a:t>Stopping and Starting Individual Database Services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2B95F1D2-E452-4CAB-BD63-75ADA1551A2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523598" y="1275906"/>
            <a:ext cx="6342002" cy="240585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B155134-6790-4DAD-AD8E-DBAA37BCD9F1}"/>
              </a:ext>
            </a:extLst>
          </p:cNvPr>
          <p:cNvSpPr/>
          <p:nvPr/>
        </p:nvSpPr>
        <p:spPr>
          <a:xfrm>
            <a:off x="326400" y="1396017"/>
            <a:ext cx="5197198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You can stop and start the individual database services (nameserver, </a:t>
            </a:r>
            <a:r>
              <a:rPr lang="en-IN" sz="1400" dirty="0" err="1">
                <a:latin typeface="Arial" panose="020B0604020202020204" pitchFamily="34" charset="0"/>
                <a:cs typeface="Arial" panose="020B0604020202020204" pitchFamily="34" charset="0"/>
              </a:rPr>
              <a:t>indexserver</a:t>
            </a:r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N" sz="1400" dirty="0" err="1">
                <a:latin typeface="Arial" panose="020B0604020202020204" pitchFamily="34" charset="0"/>
                <a:cs typeface="Arial" panose="020B0604020202020204" pitchFamily="34" charset="0"/>
              </a:rPr>
              <a:t>statisticsserver</a:t>
            </a:r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N" sz="1400" dirty="0" err="1">
                <a:latin typeface="Arial" panose="020B0604020202020204" pitchFamily="34" charset="0"/>
                <a:cs typeface="Arial" panose="020B0604020202020204" pitchFamily="34" charset="0"/>
              </a:rPr>
              <a:t>xsengine</a:t>
            </a:r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. and so on) running on hosts.</a:t>
            </a:r>
          </a:p>
          <a:p>
            <a:endParaRPr lang="en-IN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To stop and start or restart database services. you must have the system privilege SERVICE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DMIN.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Examples of situations where you have to restart an individual database service are. </a:t>
            </a:r>
          </a:p>
          <a:p>
            <a:endParaRPr lang="en-IN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example: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• A host in a distributed system failed and a standby host took over. However. the services of the failed host remain inactive even after the host is reachable again. In this case. you</a:t>
            </a:r>
          </a:p>
          <a:p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need to restart the services manually.</a:t>
            </a:r>
          </a:p>
          <a:p>
            <a:endParaRPr lang="en-IN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• After an update of SAP HANA Extended Application Services (SAP HANA XS). The </a:t>
            </a:r>
            <a:r>
              <a:rPr lang="en-IN" sz="1400" dirty="0" err="1">
                <a:latin typeface="Arial" panose="020B0604020202020204" pitchFamily="34" charset="0"/>
                <a:cs typeface="Arial" panose="020B0604020202020204" pitchFamily="34" charset="0"/>
              </a:rPr>
              <a:t>xsengine</a:t>
            </a:r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 service needs to be restarted.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DCF2B44-A2FE-4F5B-A985-8C06D1F51D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5797" y="4009782"/>
            <a:ext cx="6177603" cy="1846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795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2A9A4E-82C1-4EA2-B39B-E31F79196F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0" dirty="0"/>
              <a:t>Stopping and Starting Individual Database Services in Cockpit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55552BE-2D4E-4343-8A26-BE94B80A9A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1238" y="1687706"/>
            <a:ext cx="9409524" cy="3695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605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D57095-72A8-4DFE-B288-92426C0FB0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guration</a:t>
            </a:r>
            <a:br>
              <a:rPr lang="en-US" dirty="0"/>
            </a:br>
            <a:r>
              <a:rPr lang="en-US" dirty="0"/>
              <a:t>Changing Parameter Values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2B620B7-FFA2-44F4-9466-21E800D901C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1600" y="1321419"/>
            <a:ext cx="7294470" cy="329073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B186298-3E14-43C6-BDB7-9F0BCDDA28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188" y="4671817"/>
            <a:ext cx="7209293" cy="117654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940C97E-1B8A-4233-99C4-D281A115AB3D}"/>
              </a:ext>
            </a:extLst>
          </p:cNvPr>
          <p:cNvSpPr/>
          <p:nvPr/>
        </p:nvSpPr>
        <p:spPr>
          <a:xfrm>
            <a:off x="7708605" y="1321419"/>
            <a:ext cx="4239207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400" dirty="0">
                <a:solidFill>
                  <a:srgbClr val="000000"/>
                </a:solidFill>
                <a:latin typeface="Arial" panose="020B0604020202020204" pitchFamily="34" charset="0"/>
              </a:rPr>
              <a:t>To delete a user-defined value and restore the default value, you can choose one of</a:t>
            </a:r>
          </a:p>
          <a:p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the following methods:</a:t>
            </a:r>
          </a:p>
          <a:p>
            <a:endParaRPr lang="en-US" sz="1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en-US" sz="1400" b="1" dirty="0">
                <a:solidFill>
                  <a:srgbClr val="000000"/>
                </a:solidFill>
                <a:latin typeface="Arial" panose="020B0604020202020204" pitchFamily="34" charset="0"/>
              </a:rPr>
              <a:t>Delete with automatic reset:</a:t>
            </a:r>
          </a:p>
          <a:p>
            <a:r>
              <a:rPr lang="en-IN" sz="1400" dirty="0">
                <a:solidFill>
                  <a:srgbClr val="F1AC00"/>
                </a:solidFill>
                <a:latin typeface="Arial" panose="020B0604020202020204" pitchFamily="34" charset="0"/>
              </a:rPr>
              <a:t>1. </a:t>
            </a:r>
            <a:r>
              <a:rPr lang="en-IN" sz="1400" dirty="0">
                <a:solidFill>
                  <a:srgbClr val="000000"/>
                </a:solidFill>
                <a:latin typeface="Arial" panose="020B0604020202020204" pitchFamily="34" charset="0"/>
              </a:rPr>
              <a:t>In the context menu of the configuration parameter, choose Delete.</a:t>
            </a:r>
          </a:p>
          <a:p>
            <a:r>
              <a:rPr lang="en-IN" sz="1400" dirty="0">
                <a:solidFill>
                  <a:srgbClr val="F1AC00"/>
                </a:solidFill>
                <a:latin typeface="Arial" panose="020B0604020202020204" pitchFamily="34" charset="0"/>
              </a:rPr>
              <a:t>2. </a:t>
            </a:r>
            <a:r>
              <a:rPr lang="en-IN" sz="1400" dirty="0">
                <a:solidFill>
                  <a:srgbClr val="000000"/>
                </a:solidFill>
                <a:latin typeface="Arial" panose="020B0604020202020204" pitchFamily="34" charset="0"/>
              </a:rPr>
              <a:t>Choose the layer whose user-defined values you want to delete and Choose</a:t>
            </a:r>
          </a:p>
          <a:p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Delete.</a:t>
            </a:r>
          </a:p>
          <a:p>
            <a:r>
              <a:rPr lang="en-IN" sz="1400" dirty="0">
                <a:solidFill>
                  <a:srgbClr val="000000"/>
                </a:solidFill>
                <a:latin typeface="Arial" panose="020B0604020202020204" pitchFamily="34" charset="0"/>
              </a:rPr>
              <a:t>Note: If you added a new parameter to a section, then choosing Delete from the</a:t>
            </a:r>
          </a:p>
          <a:p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context menu deletes the entire parameter.</a:t>
            </a:r>
          </a:p>
          <a:p>
            <a:endParaRPr lang="en-US" sz="1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en-US" sz="1400" b="1" dirty="0">
                <a:solidFill>
                  <a:srgbClr val="000000"/>
                </a:solidFill>
                <a:latin typeface="Arial" panose="020B0604020202020204" pitchFamily="34" charset="0"/>
              </a:rPr>
              <a:t>Manually restore default:</a:t>
            </a:r>
          </a:p>
          <a:p>
            <a:r>
              <a:rPr lang="en-IN" sz="1400" dirty="0">
                <a:solidFill>
                  <a:srgbClr val="F1AC00"/>
                </a:solidFill>
                <a:latin typeface="Arial" panose="020B0604020202020204" pitchFamily="34" charset="0"/>
              </a:rPr>
              <a:t>1. </a:t>
            </a:r>
            <a:r>
              <a:rPr lang="en-IN" sz="1400" dirty="0">
                <a:solidFill>
                  <a:srgbClr val="000000"/>
                </a:solidFill>
                <a:latin typeface="Arial" panose="020B0604020202020204" pitchFamily="34" charset="0"/>
              </a:rPr>
              <a:t>In the context menu of the configuration parameter, choose Change...</a:t>
            </a:r>
          </a:p>
          <a:p>
            <a:r>
              <a:rPr lang="en-IN" sz="1400" dirty="0">
                <a:solidFill>
                  <a:srgbClr val="F1AC00"/>
                </a:solidFill>
                <a:latin typeface="Arial" panose="020B0604020202020204" pitchFamily="34" charset="0"/>
              </a:rPr>
              <a:t>2. </a:t>
            </a:r>
            <a:r>
              <a:rPr lang="en-IN" sz="1400" dirty="0">
                <a:solidFill>
                  <a:srgbClr val="000000"/>
                </a:solidFill>
                <a:latin typeface="Arial" panose="020B0604020202020204" pitchFamily="34" charset="0"/>
              </a:rPr>
              <a:t>For the required layers, choose Restore Default, or if you want to reset all visible</a:t>
            </a:r>
          </a:p>
          <a:p>
            <a:r>
              <a:rPr lang="en-IN" sz="1400" dirty="0">
                <a:solidFill>
                  <a:srgbClr val="000000"/>
                </a:solidFill>
                <a:latin typeface="Arial" panose="020B0604020202020204" pitchFamily="34" charset="0"/>
              </a:rPr>
              <a:t>layers, choose Restore Default for All. Choose Save.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69426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PT-Atos_Widescreen">
  <a:themeElements>
    <a:clrScheme name="Atos Theme">
      <a:dk1>
        <a:sysClr val="windowText" lastClr="000000"/>
      </a:dk1>
      <a:lt1>
        <a:sysClr val="window" lastClr="FFFFFF"/>
      </a:lt1>
      <a:dk2>
        <a:srgbClr val="0066A1"/>
      </a:dk2>
      <a:lt2>
        <a:srgbClr val="829DC7"/>
      </a:lt2>
      <a:accent1>
        <a:srgbClr val="0066A1"/>
      </a:accent1>
      <a:accent2>
        <a:srgbClr val="829DC7"/>
      </a:accent2>
      <a:accent3>
        <a:srgbClr val="000000"/>
      </a:accent3>
      <a:accent4>
        <a:srgbClr val="808080"/>
      </a:accent4>
      <a:accent5>
        <a:srgbClr val="FFFFFF"/>
      </a:accent5>
      <a:accent6>
        <a:srgbClr val="BFBFBF"/>
      </a:accent6>
      <a:hlink>
        <a:srgbClr val="0066A1"/>
      </a:hlink>
      <a:folHlink>
        <a:srgbClr val="829DC7"/>
      </a:folHlink>
    </a:clrScheme>
    <a:fontScheme name="Atos Font PP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FBFBF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0</TotalTime>
  <Words>1446</Words>
  <PresentationFormat>Widescreen</PresentationFormat>
  <Paragraphs>149</Paragraphs>
  <Slides>5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6</vt:i4>
      </vt:variant>
    </vt:vector>
  </HeadingPairs>
  <TitlesOfParts>
    <vt:vector size="65" baseType="lpstr">
      <vt:lpstr>Arial</vt:lpstr>
      <vt:lpstr>Calibri</vt:lpstr>
      <vt:lpstr>Calibri Light</vt:lpstr>
      <vt:lpstr>Courier New</vt:lpstr>
      <vt:lpstr>Lucida Sans Unicode</vt:lpstr>
      <vt:lpstr>Verdana</vt:lpstr>
      <vt:lpstr>Office Theme</vt:lpstr>
      <vt:lpstr>PPT-Atos_Widescreen</vt:lpstr>
      <vt:lpstr>think-cell Slide</vt:lpstr>
      <vt:lpstr>  SAP HANA 2.0 Database Administration Tasks</vt:lpstr>
      <vt:lpstr>Starting and stopping the SAP HANA database</vt:lpstr>
      <vt:lpstr>Starting the SAP HANA Database - Using HANA Studio</vt:lpstr>
      <vt:lpstr>Stopping the SAP HANA Database - Using HANA Studio</vt:lpstr>
      <vt:lpstr>Starting the SAP HANA Database - Using HANA Cockpit</vt:lpstr>
      <vt:lpstr>Starting and Stopping the SAP HANA Database - Using OS Commands</vt:lpstr>
      <vt:lpstr>Stopping and Starting Individual Database Services</vt:lpstr>
      <vt:lpstr>Stopping and Starting Individual Database Services in Cockpit</vt:lpstr>
      <vt:lpstr>Configuration Changing Parameter Values</vt:lpstr>
      <vt:lpstr>Using SAP HANA Cockpit</vt:lpstr>
      <vt:lpstr>Using SAP HANA Studio</vt:lpstr>
      <vt:lpstr>Change Memory Parameter</vt:lpstr>
      <vt:lpstr>Configuring Traces</vt:lpstr>
      <vt:lpstr>Traces</vt:lpstr>
      <vt:lpstr>Configuring Traces from HANA Studio</vt:lpstr>
      <vt:lpstr>Activate trace</vt:lpstr>
      <vt:lpstr>Working with Diagnosis files</vt:lpstr>
      <vt:lpstr>Collecting and Downloading Diagnosis Information</vt:lpstr>
      <vt:lpstr>Dump File Collection</vt:lpstr>
      <vt:lpstr>Troubleshoot using HANA Cockpit</vt:lpstr>
      <vt:lpstr>Using the SQL Console</vt:lpstr>
      <vt:lpstr>Add a database to the explorer</vt:lpstr>
      <vt:lpstr>Monitor Expensive Statement Trace</vt:lpstr>
      <vt:lpstr>SQL Plan Cache</vt:lpstr>
      <vt:lpstr>Table Definition in Database Explorer</vt:lpstr>
      <vt:lpstr>Table Distribution</vt:lpstr>
      <vt:lpstr>Table Partitioning</vt:lpstr>
      <vt:lpstr>Table Partitioning</vt:lpstr>
      <vt:lpstr>Importing and Exporting Tables</vt:lpstr>
      <vt:lpstr>Export and Import of Models</vt:lpstr>
      <vt:lpstr>Monitoring Disk Space</vt:lpstr>
      <vt:lpstr>Volumes</vt:lpstr>
      <vt:lpstr>CPU</vt:lpstr>
      <vt:lpstr>PowerPoint Presentation</vt:lpstr>
      <vt:lpstr>PowerPoint Presentation</vt:lpstr>
      <vt:lpstr>Memory</vt:lpstr>
      <vt:lpstr>PowerPoint Presentation</vt:lpstr>
      <vt:lpstr>Global Allocation Limit Parameter</vt:lpstr>
      <vt:lpstr>Monitoring in the SAP HANA cockpi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onitoring Alerts</vt:lpstr>
      <vt:lpstr>Alerts in SAP HANA Cockpit</vt:lpstr>
      <vt:lpstr>Alerts Configuration in Cockpit</vt:lpstr>
      <vt:lpstr>Threads</vt:lpstr>
      <vt:lpstr>Sessions</vt:lpstr>
      <vt:lpstr>Monitor Statements</vt:lpstr>
      <vt:lpstr>System Replication</vt:lpstr>
      <vt:lpstr>General Information</vt:lpstr>
      <vt:lpstr>Navigating Alerts from HANA Studio</vt:lpstr>
      <vt:lpstr>Filtering Alerts</vt:lpstr>
      <vt:lpstr>Detailed Alert Information</vt:lpstr>
      <vt:lpstr>Configuring the E-mail func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17-10-23T12:55:41Z</dcterms:created>
  <dcterms:modified xsi:type="dcterms:W3CDTF">2018-06-26T03:01:37Z</dcterms:modified>
</cp:coreProperties>
</file>